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32"/>
  </p:notesMasterIdLst>
  <p:sldIdLst>
    <p:sldId id="261" r:id="rId2"/>
    <p:sldId id="310" r:id="rId3"/>
    <p:sldId id="260" r:id="rId4"/>
    <p:sldId id="278" r:id="rId5"/>
    <p:sldId id="279" r:id="rId6"/>
    <p:sldId id="280" r:id="rId7"/>
    <p:sldId id="285" r:id="rId8"/>
    <p:sldId id="286" r:id="rId9"/>
    <p:sldId id="287" r:id="rId10"/>
    <p:sldId id="283" r:id="rId11"/>
    <p:sldId id="284" r:id="rId12"/>
    <p:sldId id="281" r:id="rId13"/>
    <p:sldId id="282" r:id="rId14"/>
    <p:sldId id="288" r:id="rId15"/>
    <p:sldId id="289" r:id="rId16"/>
    <p:sldId id="308" r:id="rId17"/>
    <p:sldId id="307" r:id="rId18"/>
    <p:sldId id="276" r:id="rId19"/>
    <p:sldId id="292" r:id="rId20"/>
    <p:sldId id="309" r:id="rId21"/>
    <p:sldId id="312" r:id="rId22"/>
    <p:sldId id="293" r:id="rId23"/>
    <p:sldId id="299" r:id="rId24"/>
    <p:sldId id="300" r:id="rId25"/>
    <p:sldId id="301" r:id="rId26"/>
    <p:sldId id="302" r:id="rId27"/>
    <p:sldId id="303" r:id="rId28"/>
    <p:sldId id="311" r:id="rId29"/>
    <p:sldId id="266" r:id="rId30"/>
    <p:sldId id="305" r:id="rId31"/>
  </p:sldIdLst>
  <p:sldSz cx="12192000" cy="6858000"/>
  <p:notesSz cx="6858000" cy="9144000"/>
  <p:embeddedFontLst>
    <p:embeddedFont>
      <p:font typeface="Abadi" panose="020B0604020104020204" pitchFamily="34" charset="0"/>
      <p:regular r:id="rId33"/>
    </p:embeddedFont>
    <p:embeddedFont>
      <p:font typeface="VAG Rounded Std Thin" panose="020F0402020204020204" pitchFamily="34" charset="0"/>
      <p:regular r:id="rId34"/>
      <p:bold r:id="rId35"/>
    </p:embeddedFont>
    <p:embeddedFont>
      <p:font typeface="Verdana" panose="020B0604030504040204" pitchFamily="34" charset="0"/>
      <p:regular r:id="rId36"/>
      <p:bold r:id="rId37"/>
      <p:italic r:id="rId38"/>
      <p:boldItalic r:id="rId39"/>
    </p:embeddedFont>
  </p:embeddedFont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56" autoAdjust="0"/>
    <p:restoredTop sz="94694" autoAdjust="0"/>
  </p:normalViewPr>
  <p:slideViewPr>
    <p:cSldViewPr snapToGrid="0">
      <p:cViewPr varScale="1">
        <p:scale>
          <a:sx n="117" d="100"/>
          <a:sy n="117" d="100"/>
        </p:scale>
        <p:origin x="656" y="16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7.fntdata"/><Relationship Id="rId21" Type="http://schemas.openxmlformats.org/officeDocument/2006/relationships/slide" Target="slides/slide20.xml"/><Relationship Id="rId34" Type="http://schemas.openxmlformats.org/officeDocument/2006/relationships/font" Target="fonts/font2.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3.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1.fntdata"/><Relationship Id="rId38" Type="http://schemas.openxmlformats.org/officeDocument/2006/relationships/font" Target="fonts/font6.fntdata"/></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werkblad.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nl-NL">
                <a:solidFill>
                  <a:schemeClr val="bg1"/>
                </a:solidFill>
              </a:rPr>
              <a:t>Aantal Mutati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nl-NL"/>
        </a:p>
      </c:txPr>
    </c:title>
    <c:autoTitleDeleted val="0"/>
    <c:plotArea>
      <c:layout/>
      <c:lineChart>
        <c:grouping val="standard"/>
        <c:varyColors val="0"/>
        <c:ser>
          <c:idx val="0"/>
          <c:order val="0"/>
          <c:tx>
            <c:strRef>
              <c:f>Blad5!$N$14</c:f>
              <c:strCache>
                <c:ptCount val="1"/>
                <c:pt idx="0">
                  <c:v>Indienst</c:v>
                </c:pt>
              </c:strCache>
            </c:strRef>
          </c:tx>
          <c:spPr>
            <a:ln w="28575" cap="rnd">
              <a:solidFill>
                <a:schemeClr val="tx1"/>
              </a:solidFill>
              <a:round/>
            </a:ln>
            <a:effectLst/>
          </c:spPr>
          <c:marker>
            <c:symbol val="none"/>
          </c:marker>
          <c:cat>
            <c:strRef>
              <c:f>Blad5!$O$13:$Q$13</c:f>
              <c:strCache>
                <c:ptCount val="3"/>
                <c:pt idx="0">
                  <c:v>T1</c:v>
                </c:pt>
                <c:pt idx="1">
                  <c:v>T2</c:v>
                </c:pt>
                <c:pt idx="2">
                  <c:v>T3</c:v>
                </c:pt>
              </c:strCache>
            </c:strRef>
          </c:cat>
          <c:val>
            <c:numRef>
              <c:f>Blad5!$O$14:$Q$14</c:f>
              <c:numCache>
                <c:formatCode>General</c:formatCode>
                <c:ptCount val="3"/>
                <c:pt idx="0">
                  <c:v>900</c:v>
                </c:pt>
                <c:pt idx="1">
                  <c:v>868</c:v>
                </c:pt>
                <c:pt idx="2">
                  <c:v>1208</c:v>
                </c:pt>
              </c:numCache>
            </c:numRef>
          </c:val>
          <c:smooth val="0"/>
          <c:extLst>
            <c:ext xmlns:c16="http://schemas.microsoft.com/office/drawing/2014/chart" uri="{C3380CC4-5D6E-409C-BE32-E72D297353CC}">
              <c16:uniqueId val="{00000000-7309-4A0F-9CE0-D0229AC441ED}"/>
            </c:ext>
          </c:extLst>
        </c:ser>
        <c:ser>
          <c:idx val="1"/>
          <c:order val="1"/>
          <c:tx>
            <c:strRef>
              <c:f>Blad5!$N$15</c:f>
              <c:strCache>
                <c:ptCount val="1"/>
                <c:pt idx="0">
                  <c:v>Uitdienst</c:v>
                </c:pt>
              </c:strCache>
            </c:strRef>
          </c:tx>
          <c:spPr>
            <a:ln w="28575" cap="rnd">
              <a:solidFill>
                <a:schemeClr val="accent4">
                  <a:lumMod val="60000"/>
                  <a:lumOff val="40000"/>
                </a:schemeClr>
              </a:solidFill>
              <a:round/>
            </a:ln>
            <a:effectLst/>
          </c:spPr>
          <c:marker>
            <c:symbol val="none"/>
          </c:marker>
          <c:cat>
            <c:strRef>
              <c:f>Blad5!$O$13:$Q$13</c:f>
              <c:strCache>
                <c:ptCount val="3"/>
                <c:pt idx="0">
                  <c:v>T1</c:v>
                </c:pt>
                <c:pt idx="1">
                  <c:v>T2</c:v>
                </c:pt>
                <c:pt idx="2">
                  <c:v>T3</c:v>
                </c:pt>
              </c:strCache>
            </c:strRef>
          </c:cat>
          <c:val>
            <c:numRef>
              <c:f>Blad5!$O$15:$Q$15</c:f>
              <c:numCache>
                <c:formatCode>General</c:formatCode>
                <c:ptCount val="3"/>
                <c:pt idx="0">
                  <c:v>550</c:v>
                </c:pt>
                <c:pt idx="1">
                  <c:v>529</c:v>
                </c:pt>
                <c:pt idx="2">
                  <c:v>513</c:v>
                </c:pt>
              </c:numCache>
            </c:numRef>
          </c:val>
          <c:smooth val="0"/>
          <c:extLst>
            <c:ext xmlns:c16="http://schemas.microsoft.com/office/drawing/2014/chart" uri="{C3380CC4-5D6E-409C-BE32-E72D297353CC}">
              <c16:uniqueId val="{00000001-7309-4A0F-9CE0-D0229AC441ED}"/>
            </c:ext>
          </c:extLst>
        </c:ser>
        <c:dLbls>
          <c:showLegendKey val="0"/>
          <c:showVal val="0"/>
          <c:showCatName val="0"/>
          <c:showSerName val="0"/>
          <c:showPercent val="0"/>
          <c:showBubbleSize val="0"/>
        </c:dLbls>
        <c:smooth val="0"/>
        <c:axId val="135469840"/>
        <c:axId val="2093893616"/>
      </c:lineChart>
      <c:catAx>
        <c:axId val="1354698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l-NL"/>
          </a:p>
        </c:txPr>
        <c:crossAx val="2093893616"/>
        <c:crosses val="autoZero"/>
        <c:auto val="1"/>
        <c:lblAlgn val="ctr"/>
        <c:lblOffset val="100"/>
        <c:noMultiLvlLbl val="0"/>
      </c:catAx>
      <c:valAx>
        <c:axId val="2093893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l-NL"/>
          </a:p>
        </c:txPr>
        <c:crossAx val="135469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l-NL"/>
        </a:p>
      </c:txPr>
    </c:legend>
    <c:plotVisOnly val="1"/>
    <c:dispBlanksAs val="gap"/>
    <c:showDLblsOverMax val="0"/>
  </c:chart>
  <c:spPr>
    <a:solidFill>
      <a:srgbClr val="0094AB">
        <a:alpha val="71000"/>
      </a:srgbClr>
    </a:solidFill>
    <a:ln w="9525" cap="flat" cmpd="sng" algn="ctr">
      <a:solidFill>
        <a:srgbClr val="0094AB"/>
      </a:solidFill>
      <a:round/>
    </a:ln>
    <a:effectLst/>
  </c:spPr>
  <c:txPr>
    <a:bodyPr/>
    <a:lstStyle/>
    <a:p>
      <a:pPr>
        <a:defRPr/>
      </a:pPr>
      <a:endParaRPr lang="nl-N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6EA2E-4A03-459C-8E51-395A7F64A23A}" type="datetimeFigureOut">
              <a:rPr lang="nl-NL" smtClean="0"/>
              <a:t>11-01-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F2D13B-C015-497A-8CEB-9F368DEEB266}" type="slidenum">
              <a:rPr lang="nl-NL" smtClean="0"/>
              <a:t>‹nr.›</a:t>
            </a:fld>
            <a:endParaRPr lang="nl-NL"/>
          </a:p>
        </p:txBody>
      </p:sp>
    </p:spTree>
    <p:extLst>
      <p:ext uri="{BB962C8B-B14F-4D97-AF65-F5344CB8AC3E}">
        <p14:creationId xmlns:p14="http://schemas.microsoft.com/office/powerpoint/2010/main" val="31548383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7</a:t>
            </a:fld>
            <a:endParaRPr lang="nl-NL"/>
          </a:p>
        </p:txBody>
      </p:sp>
    </p:spTree>
    <p:extLst>
      <p:ext uri="{BB962C8B-B14F-4D97-AF65-F5344CB8AC3E}">
        <p14:creationId xmlns:p14="http://schemas.microsoft.com/office/powerpoint/2010/main" val="720709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88894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047856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595705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47113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153925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824328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81467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91756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8</a:t>
            </a:fld>
            <a:endParaRPr lang="nl-NL"/>
          </a:p>
        </p:txBody>
      </p:sp>
    </p:spTree>
    <p:extLst>
      <p:ext uri="{BB962C8B-B14F-4D97-AF65-F5344CB8AC3E}">
        <p14:creationId xmlns:p14="http://schemas.microsoft.com/office/powerpoint/2010/main" val="814196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1.</a:t>
            </a:r>
            <a:r>
              <a:rPr lang="nl-NL" baseline="0"/>
              <a:t> </a:t>
            </a:r>
            <a:r>
              <a:rPr lang="nl-NL"/>
              <a:t>Flexibel</a:t>
            </a:r>
            <a:r>
              <a:rPr lang="nl-NL" baseline="0"/>
              <a:t> op- en afschalen: Aandacht voor de spreidingswet en eventuele meerjarige financiering (niet constant direct mee laveren in aantal locaties en medewerkers op basis van het aantal bewoners op dat moment).</a:t>
            </a:r>
          </a:p>
          <a:p>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9</a:t>
            </a:fld>
            <a:endParaRPr lang="nl-NL"/>
          </a:p>
        </p:txBody>
      </p:sp>
    </p:spTree>
    <p:extLst>
      <p:ext uri="{BB962C8B-B14F-4D97-AF65-F5344CB8AC3E}">
        <p14:creationId xmlns:p14="http://schemas.microsoft.com/office/powerpoint/2010/main" val="1818983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Aandacht voor capaciteitsontwikkeli</a:t>
            </a:r>
            <a:r>
              <a:rPr lang="nl-NL" baseline="0"/>
              <a:t>ng 2023. Geen aanleiding op dit moment om hier significant van af te wijken.</a:t>
            </a:r>
          </a:p>
          <a:p>
            <a:r>
              <a:rPr lang="nl-NL" baseline="0"/>
              <a:t>Aandacht voor bezettingsgraad. Percentueel hoger de laatste twee jaar i.v.m. capaciteitstekort.</a:t>
            </a:r>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12</a:t>
            </a:fld>
            <a:endParaRPr lang="nl-NL"/>
          </a:p>
        </p:txBody>
      </p:sp>
    </p:spTree>
    <p:extLst>
      <p:ext uri="{BB962C8B-B14F-4D97-AF65-F5344CB8AC3E}">
        <p14:creationId xmlns:p14="http://schemas.microsoft.com/office/powerpoint/2010/main" val="3444542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Opgave vinden</a:t>
            </a:r>
            <a:r>
              <a:rPr lang="nl-NL" baseline="0"/>
              <a:t> capaciteit a.g.v. groei en vervanging aflopende tijdelijke plekken.</a:t>
            </a:r>
          </a:p>
          <a:p>
            <a:r>
              <a:rPr lang="nl-NL" baseline="0"/>
              <a:t>Impact op strategische personeelsplanning, gevraagde wendbaarheid/flexibiliteit mdwrs. Immers, mogelijk verplaatsing i.v.m. constante openingen en sluitingen locaties.</a:t>
            </a:r>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13</a:t>
            </a:fld>
            <a:endParaRPr lang="nl-NL"/>
          </a:p>
        </p:txBody>
      </p:sp>
    </p:spTree>
    <p:extLst>
      <p:ext uri="{BB962C8B-B14F-4D97-AF65-F5344CB8AC3E}">
        <p14:creationId xmlns:p14="http://schemas.microsoft.com/office/powerpoint/2010/main" val="246762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14</a:t>
            </a:fld>
            <a:endParaRPr lang="nl-NL"/>
          </a:p>
        </p:txBody>
      </p:sp>
    </p:spTree>
    <p:extLst>
      <p:ext uri="{BB962C8B-B14F-4D97-AF65-F5344CB8AC3E}">
        <p14:creationId xmlns:p14="http://schemas.microsoft.com/office/powerpoint/2010/main" val="1037311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Flexibel</a:t>
            </a:r>
            <a:r>
              <a:rPr lang="nl-NL" baseline="0"/>
              <a:t> op- en afschalen: Aandacht voor de spreidingswet en meerjarige financiering (niet constant direct mee laveren in aantal locaties en medewerkers op basis van het aantal bewoners op dat moment).</a:t>
            </a:r>
          </a:p>
          <a:p>
            <a:endParaRPr lang="nl-NL" baseline="0"/>
          </a:p>
          <a:p>
            <a:endParaRPr lang="nl-NL"/>
          </a:p>
        </p:txBody>
      </p:sp>
      <p:sp>
        <p:nvSpPr>
          <p:cNvPr id="4" name="Tijdelijke aanduiding voor dianummer 3"/>
          <p:cNvSpPr>
            <a:spLocks noGrp="1"/>
          </p:cNvSpPr>
          <p:nvPr>
            <p:ph type="sldNum" sz="quarter" idx="10"/>
          </p:nvPr>
        </p:nvSpPr>
        <p:spPr/>
        <p:txBody>
          <a:bodyPr/>
          <a:lstStyle/>
          <a:p>
            <a:fld id="{E7F2D13B-C015-497A-8CEB-9F368DEEB266}" type="slidenum">
              <a:rPr lang="nl-NL" smtClean="0"/>
              <a:t>15</a:t>
            </a:fld>
            <a:endParaRPr lang="nl-NL"/>
          </a:p>
        </p:txBody>
      </p:sp>
    </p:spTree>
    <p:extLst>
      <p:ext uri="{BB962C8B-B14F-4D97-AF65-F5344CB8AC3E}">
        <p14:creationId xmlns:p14="http://schemas.microsoft.com/office/powerpoint/2010/main" val="27920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519659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2033424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FE8E0A2B-14E1-4590-9B5C-6FDCE9BE467C}"/>
              </a:ext>
            </a:extLst>
          </p:cNvPr>
          <p:cNvSpPr/>
          <p:nvPr userDrawn="1"/>
        </p:nvSpPr>
        <p:spPr>
          <a:xfrm>
            <a:off x="0" y="1269737"/>
            <a:ext cx="12192000" cy="1619514"/>
          </a:xfrm>
          <a:prstGeom prst="rect">
            <a:avLst/>
          </a:prstGeom>
          <a:gradFill>
            <a:gsLst>
              <a:gs pos="0">
                <a:schemeClr val="accent1"/>
              </a:gs>
              <a:gs pos="45000">
                <a:srgbClr val="5F946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Tijdelijke aanduiding voor afbeelding 11">
            <a:extLst>
              <a:ext uri="{FF2B5EF4-FFF2-40B4-BE49-F238E27FC236}">
                <a16:creationId xmlns:a16="http://schemas.microsoft.com/office/drawing/2014/main" id="{CB19EF15-1D11-4699-A6BC-DBA2937D37A8}"/>
              </a:ext>
            </a:extLst>
          </p:cNvPr>
          <p:cNvSpPr>
            <a:spLocks noGrp="1"/>
          </p:cNvSpPr>
          <p:nvPr>
            <p:ph type="pic" sz="quarter" idx="13"/>
          </p:nvPr>
        </p:nvSpPr>
        <p:spPr>
          <a:xfrm>
            <a:off x="0" y="2889250"/>
            <a:ext cx="12192000" cy="3968750"/>
          </a:xfrm>
        </p:spPr>
        <p:txBody>
          <a:body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CDA79FA1-4A15-4D7E-81F8-BCEF493CFD1A}"/>
              </a:ext>
            </a:extLst>
          </p:cNvPr>
          <p:cNvSpPr>
            <a:spLocks noGrp="1"/>
          </p:cNvSpPr>
          <p:nvPr>
            <p:ph type="ctrTitle"/>
          </p:nvPr>
        </p:nvSpPr>
        <p:spPr>
          <a:xfrm>
            <a:off x="623888" y="1545010"/>
            <a:ext cx="10944224" cy="566870"/>
          </a:xfrm>
        </p:spPr>
        <p:txBody>
          <a:bodyPr wrap="square" anchor="t" anchorCtr="0"/>
          <a:lstStyle>
            <a:lvl1pPr algn="l">
              <a:defRPr sz="3400" b="1">
                <a:solidFill>
                  <a:schemeClr val="bg1"/>
                </a:solidFill>
              </a:defRPr>
            </a:lvl1pPr>
          </a:lstStyle>
          <a:p>
            <a:r>
              <a:rPr lang="nl-NL"/>
              <a:t>Klik om de stijl te bewerken</a:t>
            </a:r>
            <a:endParaRPr lang="nl-NL" dirty="0"/>
          </a:p>
        </p:txBody>
      </p:sp>
      <p:sp>
        <p:nvSpPr>
          <p:cNvPr id="3" name="Ondertitel 2">
            <a:extLst>
              <a:ext uri="{FF2B5EF4-FFF2-40B4-BE49-F238E27FC236}">
                <a16:creationId xmlns:a16="http://schemas.microsoft.com/office/drawing/2014/main" id="{CD172DB1-0A41-404C-8E65-97E6546EB6C3}"/>
              </a:ext>
            </a:extLst>
          </p:cNvPr>
          <p:cNvSpPr>
            <a:spLocks noGrp="1"/>
          </p:cNvSpPr>
          <p:nvPr>
            <p:ph type="subTitle" idx="1"/>
          </p:nvPr>
        </p:nvSpPr>
        <p:spPr>
          <a:xfrm>
            <a:off x="623887" y="2134503"/>
            <a:ext cx="10944225" cy="278660"/>
          </a:xfrm>
        </p:spPr>
        <p:txBody>
          <a:bodyPr/>
          <a:lstStyle>
            <a:lvl1pPr marL="0" indent="0" algn="l">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nl-NL" dirty="0"/>
          </a:p>
        </p:txBody>
      </p:sp>
      <p:sp>
        <p:nvSpPr>
          <p:cNvPr id="4" name="Tijdelijke aanduiding voor datum 3">
            <a:extLst>
              <a:ext uri="{FF2B5EF4-FFF2-40B4-BE49-F238E27FC236}">
                <a16:creationId xmlns:a16="http://schemas.microsoft.com/office/drawing/2014/main" id="{23A5415B-E1BA-41E3-A115-CCA7D4C70515}"/>
              </a:ext>
            </a:extLst>
          </p:cNvPr>
          <p:cNvSpPr>
            <a:spLocks noGrp="1"/>
          </p:cNvSpPr>
          <p:nvPr>
            <p:ph type="dt" sz="half" idx="10"/>
          </p:nvPr>
        </p:nvSpPr>
        <p:spPr>
          <a:xfrm>
            <a:off x="623888" y="2413164"/>
            <a:ext cx="2346325" cy="365125"/>
          </a:xfrm>
        </p:spPr>
        <p:txBody>
          <a:bodyPr anchor="t" anchorCtr="0"/>
          <a:lstStyle>
            <a:lvl1pPr>
              <a:defRPr>
                <a:solidFill>
                  <a:schemeClr val="bg1"/>
                </a:solidFill>
              </a:defRPr>
            </a:lvl1pPr>
          </a:lstStyle>
          <a:p>
            <a:fld id="{C19F3B34-6B0D-45FF-A390-8EBDD9B392CA}" type="datetimeFigureOut">
              <a:rPr lang="nl-NL" smtClean="0"/>
              <a:pPr/>
              <a:t>11-01-2024</a:t>
            </a:fld>
            <a:endParaRPr lang="nl-NL" dirty="0"/>
          </a:p>
        </p:txBody>
      </p:sp>
      <p:sp>
        <p:nvSpPr>
          <p:cNvPr id="5" name="Tijdelijke aanduiding voor voettekst 4">
            <a:extLst>
              <a:ext uri="{FF2B5EF4-FFF2-40B4-BE49-F238E27FC236}">
                <a16:creationId xmlns:a16="http://schemas.microsoft.com/office/drawing/2014/main" id="{5288297E-A9E6-4A4B-BE95-948DD66A8756}"/>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6" name="Tijdelijke aanduiding voor dianummer 5">
            <a:extLst>
              <a:ext uri="{FF2B5EF4-FFF2-40B4-BE49-F238E27FC236}">
                <a16:creationId xmlns:a16="http://schemas.microsoft.com/office/drawing/2014/main" id="{089C2F50-C461-426F-A6E7-20A2CEAF1B18}"/>
              </a:ext>
            </a:extLst>
          </p:cNvPr>
          <p:cNvSpPr>
            <a:spLocks noGrp="1"/>
          </p:cNvSpPr>
          <p:nvPr>
            <p:ph type="sldNum" sz="quarter" idx="12"/>
          </p:nvPr>
        </p:nvSpPr>
        <p:spPr/>
        <p:txBody>
          <a:bodyPr/>
          <a:lstStyle>
            <a:lvl1pPr>
              <a:defRPr>
                <a:solidFill>
                  <a:schemeClr val="bg1"/>
                </a:solidFill>
              </a:defRPr>
            </a:lvl1pPr>
          </a:lstStyle>
          <a:p>
            <a:fld id="{F9DE7F4B-6E11-487C-9B28-4934A04645A5}" type="slidenum">
              <a:rPr lang="nl-NL" smtClean="0"/>
              <a:pPr/>
              <a:t>‹nr.›</a:t>
            </a:fld>
            <a:endParaRPr lang="nl-NL" dirty="0"/>
          </a:p>
        </p:txBody>
      </p:sp>
      <p:pic>
        <p:nvPicPr>
          <p:cNvPr id="9" name="Graphic 8">
            <a:extLst>
              <a:ext uri="{FF2B5EF4-FFF2-40B4-BE49-F238E27FC236}">
                <a16:creationId xmlns:a16="http://schemas.microsoft.com/office/drawing/2014/main" id="{5392D13F-30DD-47DF-8B65-C32C7E0317C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315" y="267029"/>
            <a:ext cx="3147420" cy="717785"/>
          </a:xfrm>
          <a:prstGeom prst="rect">
            <a:avLst/>
          </a:prstGeom>
        </p:spPr>
      </p:pic>
    </p:spTree>
    <p:extLst>
      <p:ext uri="{BB962C8B-B14F-4D97-AF65-F5344CB8AC3E}">
        <p14:creationId xmlns:p14="http://schemas.microsoft.com/office/powerpoint/2010/main" val="1535427995"/>
      </p:ext>
    </p:extLst>
  </p:cSld>
  <p:clrMapOvr>
    <a:masterClrMapping/>
  </p:clrMapOvr>
  <p:extLst>
    <p:ext uri="{DCECCB84-F9BA-43D5-87BE-67443E8EF086}">
      <p15:sldGuideLst xmlns:p15="http://schemas.microsoft.com/office/powerpoint/2012/main">
        <p15:guide id="1" orient="horz" pos="18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lleen foto">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D61AC16E-B8CE-42CC-84EE-A7C7917F5588}"/>
              </a:ext>
            </a:extLst>
          </p:cNvPr>
          <p:cNvSpPr/>
          <p:nvPr userDrawn="1"/>
        </p:nvSpPr>
        <p:spPr>
          <a:xfrm>
            <a:off x="0" y="1268413"/>
            <a:ext cx="1219200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3" name="Tijdelijke aanduiding voor datum 2">
            <a:extLst>
              <a:ext uri="{FF2B5EF4-FFF2-40B4-BE49-F238E27FC236}">
                <a16:creationId xmlns:a16="http://schemas.microsoft.com/office/drawing/2014/main" id="{3A981402-0350-46D7-8838-3FF2C0810827}"/>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4" name="Tijdelijke aanduiding voor voettekst 3">
            <a:extLst>
              <a:ext uri="{FF2B5EF4-FFF2-40B4-BE49-F238E27FC236}">
                <a16:creationId xmlns:a16="http://schemas.microsoft.com/office/drawing/2014/main" id="{06165557-5893-4C97-B0E2-CE0ABC5D2259}"/>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B215D9DD-D600-46EA-BE84-98EA2EDF0724}"/>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7" name="Tijdelijke aanduiding voor afbeelding 6">
            <a:extLst>
              <a:ext uri="{FF2B5EF4-FFF2-40B4-BE49-F238E27FC236}">
                <a16:creationId xmlns:a16="http://schemas.microsoft.com/office/drawing/2014/main" id="{4A076717-902D-48BD-AA86-0FE08881BCD6}"/>
              </a:ext>
            </a:extLst>
          </p:cNvPr>
          <p:cNvSpPr>
            <a:spLocks noGrp="1"/>
          </p:cNvSpPr>
          <p:nvPr>
            <p:ph type="pic" sz="quarter" idx="13"/>
          </p:nvPr>
        </p:nvSpPr>
        <p:spPr>
          <a:xfrm>
            <a:off x="0" y="0"/>
            <a:ext cx="12192000" cy="6057900"/>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784673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foto'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22407-8122-47BA-927C-D3B05D9E10E2}"/>
              </a:ext>
            </a:extLst>
          </p:cNvPr>
          <p:cNvSpPr>
            <a:spLocks noGrp="1"/>
          </p:cNvSpPr>
          <p:nvPr>
            <p:ph type="title"/>
          </p:nvPr>
        </p:nvSpPr>
        <p:spPr/>
        <p:txBody>
          <a:bodyPr/>
          <a:lstStyle/>
          <a:p>
            <a:r>
              <a:rPr lang="nl-NL"/>
              <a:t>Klik om de stijl te bewerken</a:t>
            </a:r>
          </a:p>
        </p:txBody>
      </p:sp>
      <p:sp>
        <p:nvSpPr>
          <p:cNvPr id="3" name="Tijdelijke aanduiding voor datum 2">
            <a:extLst>
              <a:ext uri="{FF2B5EF4-FFF2-40B4-BE49-F238E27FC236}">
                <a16:creationId xmlns:a16="http://schemas.microsoft.com/office/drawing/2014/main" id="{3A981402-0350-46D7-8838-3FF2C0810827}"/>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4" name="Tijdelijke aanduiding voor voettekst 3">
            <a:extLst>
              <a:ext uri="{FF2B5EF4-FFF2-40B4-BE49-F238E27FC236}">
                <a16:creationId xmlns:a16="http://schemas.microsoft.com/office/drawing/2014/main" id="{06165557-5893-4C97-B0E2-CE0ABC5D2259}"/>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B215D9DD-D600-46EA-BE84-98EA2EDF0724}"/>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7" name="Tijdelijke aanduiding voor afbeelding 6">
            <a:extLst>
              <a:ext uri="{FF2B5EF4-FFF2-40B4-BE49-F238E27FC236}">
                <a16:creationId xmlns:a16="http://schemas.microsoft.com/office/drawing/2014/main" id="{4A076717-902D-48BD-AA86-0FE08881BCD6}"/>
              </a:ext>
            </a:extLst>
          </p:cNvPr>
          <p:cNvSpPr>
            <a:spLocks noGrp="1"/>
          </p:cNvSpPr>
          <p:nvPr>
            <p:ph type="pic" sz="quarter" idx="13"/>
          </p:nvPr>
        </p:nvSpPr>
        <p:spPr>
          <a:xfrm>
            <a:off x="0" y="1360488"/>
            <a:ext cx="6024563" cy="4697412"/>
          </a:xfrm>
        </p:spPr>
        <p:txBody>
          <a:bodyPr/>
          <a:lstStyle/>
          <a:p>
            <a:r>
              <a:rPr lang="nl-NL"/>
              <a:t>Klik op het pictogram als u een afbeelding wilt toevoegen</a:t>
            </a:r>
            <a:endParaRPr lang="nl-NL" dirty="0"/>
          </a:p>
        </p:txBody>
      </p:sp>
      <p:sp>
        <p:nvSpPr>
          <p:cNvPr id="8" name="Tijdelijke aanduiding voor afbeelding 7">
            <a:extLst>
              <a:ext uri="{FF2B5EF4-FFF2-40B4-BE49-F238E27FC236}">
                <a16:creationId xmlns:a16="http://schemas.microsoft.com/office/drawing/2014/main" id="{EEEF9D08-86E6-4D27-8E2F-8A0378805DD1}"/>
              </a:ext>
            </a:extLst>
          </p:cNvPr>
          <p:cNvSpPr>
            <a:spLocks noGrp="1"/>
          </p:cNvSpPr>
          <p:nvPr>
            <p:ph type="pic" sz="quarter" idx="14"/>
          </p:nvPr>
        </p:nvSpPr>
        <p:spPr>
          <a:xfrm>
            <a:off x="6167438" y="1360488"/>
            <a:ext cx="2936875" cy="4697412"/>
          </a:xfrm>
        </p:spPr>
        <p:txBody>
          <a:bodyPr/>
          <a:lstStyle/>
          <a:p>
            <a:r>
              <a:rPr lang="nl-NL"/>
              <a:t>Klik op het pictogram als u een afbeelding wilt toevoegen</a:t>
            </a:r>
            <a:endParaRPr lang="nl-NL" dirty="0"/>
          </a:p>
        </p:txBody>
      </p:sp>
      <p:sp>
        <p:nvSpPr>
          <p:cNvPr id="10" name="Tijdelijke aanduiding voor afbeelding 9">
            <a:extLst>
              <a:ext uri="{FF2B5EF4-FFF2-40B4-BE49-F238E27FC236}">
                <a16:creationId xmlns:a16="http://schemas.microsoft.com/office/drawing/2014/main" id="{01092434-B5A6-44DA-BFEA-A033B4FD8FCC}"/>
              </a:ext>
            </a:extLst>
          </p:cNvPr>
          <p:cNvSpPr>
            <a:spLocks noGrp="1"/>
          </p:cNvSpPr>
          <p:nvPr>
            <p:ph type="pic" sz="quarter" idx="15"/>
          </p:nvPr>
        </p:nvSpPr>
        <p:spPr>
          <a:xfrm>
            <a:off x="9256713" y="1360488"/>
            <a:ext cx="2935287" cy="4697412"/>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676286236"/>
      </p:ext>
    </p:extLst>
  </p:cSld>
  <p:clrMapOvr>
    <a:masterClrMapping/>
  </p:clrMapOvr>
  <p:extLst>
    <p:ext uri="{DCECCB84-F9BA-43D5-87BE-67443E8EF086}">
      <p15:sldGuideLst xmlns:p15="http://schemas.microsoft.com/office/powerpoint/2012/main">
        <p15:guide id="1" pos="5831" userDrawn="1">
          <p15:clr>
            <a:srgbClr val="FBAE40"/>
          </p15:clr>
        </p15:guide>
        <p15:guide id="2" pos="573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foto's en bijschrif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22407-8122-47BA-927C-D3B05D9E10E2}"/>
              </a:ext>
            </a:extLst>
          </p:cNvPr>
          <p:cNvSpPr>
            <a:spLocks noGrp="1"/>
          </p:cNvSpPr>
          <p:nvPr>
            <p:ph type="title"/>
          </p:nvPr>
        </p:nvSpPr>
        <p:spPr/>
        <p:txBody>
          <a:bodyPr/>
          <a:lstStyle/>
          <a:p>
            <a:r>
              <a:rPr lang="nl-NL"/>
              <a:t>Klik om de stijl te bewerken</a:t>
            </a:r>
          </a:p>
        </p:txBody>
      </p:sp>
      <p:sp>
        <p:nvSpPr>
          <p:cNvPr id="3" name="Tijdelijke aanduiding voor datum 2">
            <a:extLst>
              <a:ext uri="{FF2B5EF4-FFF2-40B4-BE49-F238E27FC236}">
                <a16:creationId xmlns:a16="http://schemas.microsoft.com/office/drawing/2014/main" id="{3A981402-0350-46D7-8838-3FF2C0810827}"/>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4" name="Tijdelijke aanduiding voor voettekst 3">
            <a:extLst>
              <a:ext uri="{FF2B5EF4-FFF2-40B4-BE49-F238E27FC236}">
                <a16:creationId xmlns:a16="http://schemas.microsoft.com/office/drawing/2014/main" id="{06165557-5893-4C97-B0E2-CE0ABC5D2259}"/>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B215D9DD-D600-46EA-BE84-98EA2EDF0724}"/>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7" name="Tijdelijke aanduiding voor afbeelding 6">
            <a:extLst>
              <a:ext uri="{FF2B5EF4-FFF2-40B4-BE49-F238E27FC236}">
                <a16:creationId xmlns:a16="http://schemas.microsoft.com/office/drawing/2014/main" id="{4A076717-902D-48BD-AA86-0FE08881BCD6}"/>
              </a:ext>
            </a:extLst>
          </p:cNvPr>
          <p:cNvSpPr>
            <a:spLocks noGrp="1"/>
          </p:cNvSpPr>
          <p:nvPr>
            <p:ph type="pic" sz="quarter" idx="13"/>
          </p:nvPr>
        </p:nvSpPr>
        <p:spPr>
          <a:xfrm>
            <a:off x="0" y="1360488"/>
            <a:ext cx="6024563" cy="4697412"/>
          </a:xfrm>
        </p:spPr>
        <p:txBody>
          <a:bodyPr/>
          <a:lstStyle/>
          <a:p>
            <a:r>
              <a:rPr lang="nl-NL"/>
              <a:t>Klik op het pictogram als u een afbeelding wilt toevoegen</a:t>
            </a:r>
            <a:endParaRPr lang="nl-NL" dirty="0"/>
          </a:p>
        </p:txBody>
      </p:sp>
      <p:sp>
        <p:nvSpPr>
          <p:cNvPr id="8" name="Tijdelijke aanduiding voor afbeelding 7">
            <a:extLst>
              <a:ext uri="{FF2B5EF4-FFF2-40B4-BE49-F238E27FC236}">
                <a16:creationId xmlns:a16="http://schemas.microsoft.com/office/drawing/2014/main" id="{EEEF9D08-86E6-4D27-8E2F-8A0378805DD1}"/>
              </a:ext>
            </a:extLst>
          </p:cNvPr>
          <p:cNvSpPr>
            <a:spLocks noGrp="1"/>
          </p:cNvSpPr>
          <p:nvPr>
            <p:ph type="pic" sz="quarter" idx="14"/>
          </p:nvPr>
        </p:nvSpPr>
        <p:spPr>
          <a:xfrm>
            <a:off x="9256712" y="3876674"/>
            <a:ext cx="2935288" cy="2181225"/>
          </a:xfrm>
        </p:spPr>
        <p:txBody>
          <a:bodyPr/>
          <a:lstStyle/>
          <a:p>
            <a:r>
              <a:rPr lang="nl-NL"/>
              <a:t>Klik op het pictogram als u een afbeelding wilt toevoegen</a:t>
            </a:r>
            <a:endParaRPr lang="nl-NL" dirty="0"/>
          </a:p>
        </p:txBody>
      </p:sp>
      <p:sp>
        <p:nvSpPr>
          <p:cNvPr id="10" name="Tijdelijke aanduiding voor afbeelding 9">
            <a:extLst>
              <a:ext uri="{FF2B5EF4-FFF2-40B4-BE49-F238E27FC236}">
                <a16:creationId xmlns:a16="http://schemas.microsoft.com/office/drawing/2014/main" id="{01092434-B5A6-44DA-BFEA-A033B4FD8FCC}"/>
              </a:ext>
            </a:extLst>
          </p:cNvPr>
          <p:cNvSpPr>
            <a:spLocks noGrp="1"/>
          </p:cNvSpPr>
          <p:nvPr>
            <p:ph type="pic" sz="quarter" idx="15"/>
          </p:nvPr>
        </p:nvSpPr>
        <p:spPr>
          <a:xfrm>
            <a:off x="9256713" y="1360488"/>
            <a:ext cx="2935287" cy="2335212"/>
          </a:xfrm>
        </p:spPr>
        <p:txBody>
          <a:bodyPr/>
          <a:lstStyle/>
          <a:p>
            <a:r>
              <a:rPr lang="nl-NL"/>
              <a:t>Klik op het pictogram als u een afbeelding wilt toevoegen</a:t>
            </a:r>
            <a:endParaRPr lang="nl-NL" dirty="0"/>
          </a:p>
        </p:txBody>
      </p:sp>
      <p:sp>
        <p:nvSpPr>
          <p:cNvPr id="12" name="Tijdelijke aanduiding voor tekst 11">
            <a:extLst>
              <a:ext uri="{FF2B5EF4-FFF2-40B4-BE49-F238E27FC236}">
                <a16:creationId xmlns:a16="http://schemas.microsoft.com/office/drawing/2014/main" id="{41F5428C-6733-4718-A02D-077374366C18}"/>
              </a:ext>
            </a:extLst>
          </p:cNvPr>
          <p:cNvSpPr>
            <a:spLocks noGrp="1"/>
          </p:cNvSpPr>
          <p:nvPr>
            <p:ph type="body" sz="quarter" idx="16" hasCustomPrompt="1"/>
          </p:nvPr>
        </p:nvSpPr>
        <p:spPr>
          <a:xfrm>
            <a:off x="6472238" y="1685925"/>
            <a:ext cx="2632075" cy="1042988"/>
          </a:xfrm>
        </p:spPr>
        <p:txBody>
          <a:bodyPr/>
          <a:lstStyle>
            <a:lvl1pPr>
              <a:defRPr sz="1600" b="0" i="1">
                <a:solidFill>
                  <a:schemeClr val="tx2"/>
                </a:solidFill>
              </a:defRPr>
            </a:lvl1pPr>
            <a:lvl5pPr>
              <a:defRPr/>
            </a:lvl5pPr>
          </a:lstStyle>
          <a:p>
            <a:pPr lvl="0"/>
            <a:r>
              <a:rPr lang="nl-NL" dirty="0"/>
              <a:t>Fotobijschrift</a:t>
            </a:r>
          </a:p>
        </p:txBody>
      </p:sp>
      <p:sp>
        <p:nvSpPr>
          <p:cNvPr id="13" name="Tijdelijke aanduiding voor tekst 11">
            <a:extLst>
              <a:ext uri="{FF2B5EF4-FFF2-40B4-BE49-F238E27FC236}">
                <a16:creationId xmlns:a16="http://schemas.microsoft.com/office/drawing/2014/main" id="{9E449F91-CA7F-4620-9775-FF8128E04FC4}"/>
              </a:ext>
            </a:extLst>
          </p:cNvPr>
          <p:cNvSpPr>
            <a:spLocks noGrp="1"/>
          </p:cNvSpPr>
          <p:nvPr>
            <p:ph type="body" sz="quarter" idx="17" hasCustomPrompt="1"/>
          </p:nvPr>
        </p:nvSpPr>
        <p:spPr>
          <a:xfrm>
            <a:off x="6472238" y="5395910"/>
            <a:ext cx="2632075" cy="661990"/>
          </a:xfrm>
        </p:spPr>
        <p:txBody>
          <a:bodyPr/>
          <a:lstStyle>
            <a:lvl1pPr>
              <a:defRPr sz="1600" b="0" i="1">
                <a:solidFill>
                  <a:schemeClr val="tx2"/>
                </a:solidFill>
              </a:defRPr>
            </a:lvl1pPr>
            <a:lvl5pPr>
              <a:defRPr/>
            </a:lvl5pPr>
          </a:lstStyle>
          <a:p>
            <a:pPr lvl="0"/>
            <a:r>
              <a:rPr lang="nl-NL" dirty="0"/>
              <a:t>Fotobijschrift</a:t>
            </a:r>
          </a:p>
        </p:txBody>
      </p:sp>
      <p:sp>
        <p:nvSpPr>
          <p:cNvPr id="14" name="Tijdelijke aanduiding voor tekst 11">
            <a:extLst>
              <a:ext uri="{FF2B5EF4-FFF2-40B4-BE49-F238E27FC236}">
                <a16:creationId xmlns:a16="http://schemas.microsoft.com/office/drawing/2014/main" id="{B916841D-4870-435E-976F-1711849D0FAF}"/>
              </a:ext>
            </a:extLst>
          </p:cNvPr>
          <p:cNvSpPr>
            <a:spLocks noGrp="1"/>
          </p:cNvSpPr>
          <p:nvPr>
            <p:ph type="body" sz="quarter" idx="18" hasCustomPrompt="1"/>
          </p:nvPr>
        </p:nvSpPr>
        <p:spPr>
          <a:xfrm>
            <a:off x="6472237" y="3174206"/>
            <a:ext cx="2632075" cy="1042988"/>
          </a:xfrm>
        </p:spPr>
        <p:txBody>
          <a:bodyPr/>
          <a:lstStyle>
            <a:lvl1pPr>
              <a:defRPr sz="1600" b="0" i="1">
                <a:solidFill>
                  <a:schemeClr val="tx2"/>
                </a:solidFill>
              </a:defRPr>
            </a:lvl1pPr>
            <a:lvl5pPr>
              <a:defRPr/>
            </a:lvl5pPr>
          </a:lstStyle>
          <a:p>
            <a:pPr lvl="0"/>
            <a:r>
              <a:rPr lang="nl-NL" dirty="0"/>
              <a:t>Fotobijschrift</a:t>
            </a:r>
          </a:p>
        </p:txBody>
      </p:sp>
      <p:cxnSp>
        <p:nvCxnSpPr>
          <p:cNvPr id="17" name="Rechte verbindingslijn met pijl 16">
            <a:extLst>
              <a:ext uri="{FF2B5EF4-FFF2-40B4-BE49-F238E27FC236}">
                <a16:creationId xmlns:a16="http://schemas.microsoft.com/office/drawing/2014/main" id="{BEFFE8E7-EA89-4504-A6C2-53320DCF0693}"/>
              </a:ext>
            </a:extLst>
          </p:cNvPr>
          <p:cNvCxnSpPr>
            <a:cxnSpLocks/>
          </p:cNvCxnSpPr>
          <p:nvPr userDrawn="1"/>
        </p:nvCxnSpPr>
        <p:spPr>
          <a:xfrm>
            <a:off x="6167438" y="3292078"/>
            <a:ext cx="203596" cy="0"/>
          </a:xfrm>
          <a:prstGeom prst="straightConnector1">
            <a:avLst/>
          </a:prstGeom>
          <a:ln>
            <a:tailEnd type="stealth" w="med" len="sm"/>
          </a:ln>
        </p:spPr>
        <p:style>
          <a:lnRef idx="1">
            <a:schemeClr val="accent1"/>
          </a:lnRef>
          <a:fillRef idx="0">
            <a:schemeClr val="accent1"/>
          </a:fillRef>
          <a:effectRef idx="0">
            <a:schemeClr val="accent1"/>
          </a:effectRef>
          <a:fontRef idx="minor">
            <a:schemeClr val="tx1"/>
          </a:fontRef>
        </p:style>
      </p:cxnSp>
      <p:cxnSp>
        <p:nvCxnSpPr>
          <p:cNvPr id="19" name="Rechte verbindingslijn met pijl 18">
            <a:extLst>
              <a:ext uri="{FF2B5EF4-FFF2-40B4-BE49-F238E27FC236}">
                <a16:creationId xmlns:a16="http://schemas.microsoft.com/office/drawing/2014/main" id="{154F21C0-81D4-48F1-BEC7-F9858910AEF1}"/>
              </a:ext>
            </a:extLst>
          </p:cNvPr>
          <p:cNvCxnSpPr>
            <a:cxnSpLocks/>
          </p:cNvCxnSpPr>
          <p:nvPr userDrawn="1"/>
        </p:nvCxnSpPr>
        <p:spPr>
          <a:xfrm>
            <a:off x="6167438" y="5516166"/>
            <a:ext cx="203596" cy="0"/>
          </a:xfrm>
          <a:prstGeom prst="straightConnector1">
            <a:avLst/>
          </a:prstGeom>
          <a:ln>
            <a:tailEnd type="stealth" w="med" len="sm"/>
          </a:ln>
        </p:spPr>
        <p:style>
          <a:lnRef idx="1">
            <a:schemeClr val="accent1"/>
          </a:lnRef>
          <a:fillRef idx="0">
            <a:schemeClr val="accent1"/>
          </a:fillRef>
          <a:effectRef idx="0">
            <a:schemeClr val="accent1"/>
          </a:effectRef>
          <a:fontRef idx="minor">
            <a:schemeClr val="tx1"/>
          </a:fontRef>
        </p:style>
      </p:cxnSp>
      <p:cxnSp>
        <p:nvCxnSpPr>
          <p:cNvPr id="20" name="Rechte verbindingslijn met pijl 19">
            <a:extLst>
              <a:ext uri="{FF2B5EF4-FFF2-40B4-BE49-F238E27FC236}">
                <a16:creationId xmlns:a16="http://schemas.microsoft.com/office/drawing/2014/main" id="{18CB6CF8-F08B-4015-A489-82376975B957}"/>
              </a:ext>
            </a:extLst>
          </p:cNvPr>
          <p:cNvCxnSpPr>
            <a:cxnSpLocks/>
          </p:cNvCxnSpPr>
          <p:nvPr userDrawn="1"/>
        </p:nvCxnSpPr>
        <p:spPr>
          <a:xfrm flipH="1">
            <a:off x="6167438" y="1806178"/>
            <a:ext cx="203596" cy="0"/>
          </a:xfrm>
          <a:prstGeom prst="straightConnector1">
            <a:avLst/>
          </a:prstGeom>
          <a:ln>
            <a:tailEnd type="stealth"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400907"/>
      </p:ext>
    </p:extLst>
  </p:cSld>
  <p:clrMapOvr>
    <a:masterClrMapping/>
  </p:clrMapOvr>
  <p:extLst>
    <p:ext uri="{DCECCB84-F9BA-43D5-87BE-67443E8EF086}">
      <p15:sldGuideLst xmlns:p15="http://schemas.microsoft.com/office/powerpoint/2012/main">
        <p15:guide id="1" pos="5831">
          <p15:clr>
            <a:srgbClr val="FBAE40"/>
          </p15:clr>
        </p15:guide>
        <p15:guide id="2" pos="573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Leeg">
    <p:bg>
      <p:bgPr>
        <a:gradFill>
          <a:gsLst>
            <a:gs pos="46600">
              <a:srgbClr val="5C9466"/>
            </a:gs>
            <a:gs pos="0">
              <a:schemeClr val="accent1"/>
            </a:gs>
            <a:gs pos="100000">
              <a:schemeClr val="accent2"/>
            </a:gs>
          </a:gsLst>
          <a:lin ang="0" scaled="0"/>
        </a:grad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2210517-C118-451E-8BA1-FEA40E23C58E}"/>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3" name="Tijdelijke aanduiding voor voettekst 2">
            <a:extLst>
              <a:ext uri="{FF2B5EF4-FFF2-40B4-BE49-F238E27FC236}">
                <a16:creationId xmlns:a16="http://schemas.microsoft.com/office/drawing/2014/main" id="{126F3487-FACF-4E32-A6EC-7F96763AC3DA}"/>
              </a:ext>
            </a:extLst>
          </p:cNvPr>
          <p:cNvSpPr>
            <a:spLocks noGrp="1"/>
          </p:cNvSpPr>
          <p:nvPr>
            <p:ph type="ftr" sz="quarter" idx="11"/>
          </p:nvPr>
        </p:nvSpPr>
        <p:spPr/>
        <p:txBody>
          <a:bodyPr/>
          <a:lstStyle/>
          <a:p>
            <a:endParaRPr lang="nl-NL" dirty="0"/>
          </a:p>
        </p:txBody>
      </p:sp>
      <p:sp>
        <p:nvSpPr>
          <p:cNvPr id="4" name="Tijdelijke aanduiding voor dianummer 3">
            <a:extLst>
              <a:ext uri="{FF2B5EF4-FFF2-40B4-BE49-F238E27FC236}">
                <a16:creationId xmlns:a16="http://schemas.microsoft.com/office/drawing/2014/main" id="{9B8F8745-1605-4C66-9227-D751BB496758}"/>
              </a:ext>
            </a:extLst>
          </p:cNvPr>
          <p:cNvSpPr>
            <a:spLocks noGrp="1"/>
          </p:cNvSpPr>
          <p:nvPr>
            <p:ph type="sldNum" sz="quarter" idx="12"/>
          </p:nvPr>
        </p:nvSpPr>
        <p:spPr/>
        <p:txBody>
          <a:bodyPr/>
          <a:lstStyle/>
          <a:p>
            <a:fld id="{F9DE7F4B-6E11-487C-9B28-4934A04645A5}" type="slidenum">
              <a:rPr lang="nl-NL" smtClean="0"/>
              <a:t>‹nr.›</a:t>
            </a:fld>
            <a:endParaRPr lang="nl-NL" dirty="0"/>
          </a:p>
        </p:txBody>
      </p:sp>
    </p:spTree>
    <p:extLst>
      <p:ext uri="{BB962C8B-B14F-4D97-AF65-F5344CB8AC3E}">
        <p14:creationId xmlns:p14="http://schemas.microsoft.com/office/powerpoint/2010/main" val="2762367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 en verticale tekst">
    <p:spTree>
      <p:nvGrpSpPr>
        <p:cNvPr id="1" name=""/>
        <p:cNvGrpSpPr/>
        <p:nvPr/>
      </p:nvGrpSpPr>
      <p:grpSpPr>
        <a:xfrm>
          <a:off x="0" y="0"/>
          <a:ext cx="0" cy="0"/>
          <a:chOff x="0" y="0"/>
          <a:chExt cx="0" cy="0"/>
        </a:xfrm>
      </p:grpSpPr>
      <p:sp>
        <p:nvSpPr>
          <p:cNvPr id="139" name="Tijdelijke aanduiding voor inhoud 138">
            <a:extLst>
              <a:ext uri="{FF2B5EF4-FFF2-40B4-BE49-F238E27FC236}">
                <a16:creationId xmlns:a16="http://schemas.microsoft.com/office/drawing/2014/main" id="{C7ADF347-85FD-4BDF-ACFD-ED464F6CB999}"/>
              </a:ext>
            </a:extLst>
          </p:cNvPr>
          <p:cNvSpPr>
            <a:spLocks noGrp="1"/>
          </p:cNvSpPr>
          <p:nvPr>
            <p:ph sz="quarter" idx="10" hasCustomPrompt="1"/>
          </p:nvPr>
        </p:nvSpPr>
        <p:spPr>
          <a:xfrm>
            <a:off x="8419846" y="5302698"/>
            <a:ext cx="446088" cy="214313"/>
          </a:xfrm>
        </p:spPr>
        <p:txBody>
          <a:bodyPr/>
          <a:lstStyle>
            <a:lvl1pPr marL="0" indent="0">
              <a:buNone/>
              <a:defRPr/>
            </a:lvl1pPr>
          </a:lstStyle>
          <a:p>
            <a:pPr lvl="0"/>
            <a:r>
              <a:rPr lang="nl-NL" dirty="0"/>
              <a:t> </a:t>
            </a:r>
          </a:p>
        </p:txBody>
      </p:sp>
      <p:sp>
        <p:nvSpPr>
          <p:cNvPr id="145" name="Tijdelijke aanduiding voor inhoud 138">
            <a:extLst>
              <a:ext uri="{FF2B5EF4-FFF2-40B4-BE49-F238E27FC236}">
                <a16:creationId xmlns:a16="http://schemas.microsoft.com/office/drawing/2014/main" id="{064D0D5E-A513-48F7-B805-8E312F624A49}"/>
              </a:ext>
            </a:extLst>
          </p:cNvPr>
          <p:cNvSpPr>
            <a:spLocks noGrp="1"/>
          </p:cNvSpPr>
          <p:nvPr>
            <p:ph sz="quarter" idx="11" hasCustomPrompt="1"/>
          </p:nvPr>
        </p:nvSpPr>
        <p:spPr>
          <a:xfrm>
            <a:off x="6418677" y="5302698"/>
            <a:ext cx="446088" cy="214313"/>
          </a:xfrm>
        </p:spPr>
        <p:txBody>
          <a:bodyPr/>
          <a:lstStyle>
            <a:lvl1pPr marL="0" indent="0">
              <a:buNone/>
              <a:defRPr/>
            </a:lvl1pPr>
          </a:lstStyle>
          <a:p>
            <a:pPr lvl="0"/>
            <a:r>
              <a:rPr lang="nl-NL" dirty="0"/>
              <a:t> </a:t>
            </a:r>
          </a:p>
        </p:txBody>
      </p:sp>
      <p:pic>
        <p:nvPicPr>
          <p:cNvPr id="2" name="Afbeelding 1">
            <a:extLst>
              <a:ext uri="{FF2B5EF4-FFF2-40B4-BE49-F238E27FC236}">
                <a16:creationId xmlns:a16="http://schemas.microsoft.com/office/drawing/2014/main" id="{58748570-D3BC-DCFF-CE1E-9022DE1FC11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69682" y="0"/>
            <a:ext cx="2722318"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47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600"/>
                                  </p:stCondLst>
                                  <p:childTnLst>
                                    <p:set>
                                      <p:cBhvr>
                                        <p:cTn id="6" dur="1" fill="hold">
                                          <p:stCondLst>
                                            <p:cond delay="0"/>
                                          </p:stCondLst>
                                        </p:cTn>
                                        <p:tgtEl>
                                          <p:spTgt spid="139">
                                            <p:txEl>
                                              <p:pRg st="0" end="0"/>
                                            </p:txEl>
                                          </p:spTgt>
                                        </p:tgtEl>
                                        <p:attrNameLst>
                                          <p:attrName>style.visibility</p:attrName>
                                        </p:attrNameLst>
                                      </p:cBhvr>
                                      <p:to>
                                        <p:strVal val="visible"/>
                                      </p:to>
                                    </p:set>
                                    <p:anim calcmode="lin" valueType="num">
                                      <p:cBhvr additive="base">
                                        <p:cTn id="7" dur="800" fill="hold"/>
                                        <p:tgtEl>
                                          <p:spTgt spid="139">
                                            <p:txEl>
                                              <p:pRg st="0" end="0"/>
                                            </p:txEl>
                                          </p:spTgt>
                                        </p:tgtEl>
                                        <p:attrNameLst>
                                          <p:attrName>ppt_x</p:attrName>
                                        </p:attrNameLst>
                                      </p:cBhvr>
                                      <p:tavLst>
                                        <p:tav tm="0">
                                          <p:val>
                                            <p:strVal val="#ppt_x"/>
                                          </p:val>
                                        </p:tav>
                                        <p:tav tm="100000">
                                          <p:val>
                                            <p:strVal val="#ppt_x"/>
                                          </p:val>
                                        </p:tav>
                                      </p:tavLst>
                                    </p:anim>
                                    <p:anim calcmode="lin" valueType="num">
                                      <p:cBhvr additive="base">
                                        <p:cTn id="8" dur="800" fill="hold"/>
                                        <p:tgtEl>
                                          <p:spTgt spid="13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600"/>
                                  </p:stCondLst>
                                  <p:childTnLst>
                                    <p:set>
                                      <p:cBhvr>
                                        <p:cTn id="10" dur="1" fill="hold">
                                          <p:stCondLst>
                                            <p:cond delay="0"/>
                                          </p:stCondLst>
                                        </p:cTn>
                                        <p:tgtEl>
                                          <p:spTgt spid="145">
                                            <p:txEl>
                                              <p:pRg st="0" end="0"/>
                                            </p:txEl>
                                          </p:spTgt>
                                        </p:tgtEl>
                                        <p:attrNameLst>
                                          <p:attrName>style.visibility</p:attrName>
                                        </p:attrNameLst>
                                      </p:cBhvr>
                                      <p:to>
                                        <p:strVal val="visible"/>
                                      </p:to>
                                    </p:set>
                                    <p:anim calcmode="lin" valueType="num">
                                      <p:cBhvr additive="base">
                                        <p:cTn id="11" dur="800" fill="hold"/>
                                        <p:tgtEl>
                                          <p:spTgt spid="145">
                                            <p:txEl>
                                              <p:pRg st="0" end="0"/>
                                            </p:txEl>
                                          </p:spTgt>
                                        </p:tgtEl>
                                        <p:attrNameLst>
                                          <p:attrName>ppt_x</p:attrName>
                                        </p:attrNameLst>
                                      </p:cBhvr>
                                      <p:tavLst>
                                        <p:tav tm="0">
                                          <p:val>
                                            <p:strVal val="#ppt_x"/>
                                          </p:val>
                                        </p:tav>
                                        <p:tav tm="100000">
                                          <p:val>
                                            <p:strVal val="#ppt_x"/>
                                          </p:val>
                                        </p:tav>
                                      </p:tavLst>
                                    </p:anim>
                                    <p:anim calcmode="lin" valueType="num">
                                      <p:cBhvr additive="base">
                                        <p:cTn id="12" dur="800" fill="hold"/>
                                        <p:tgtEl>
                                          <p:spTgt spid="14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build="p">
        <p:tmplLst>
          <p:tmpl lvl="1">
            <p:tnLst>
              <p:par>
                <p:cTn presetID="2" presetClass="entr" presetSubtype="4" decel="100000" fill="hold" nodeType="withEffect">
                  <p:stCondLst>
                    <p:cond delay="600"/>
                  </p:stCondLst>
                  <p:childTnLst>
                    <p:set>
                      <p:cBhvr>
                        <p:cTn dur="1" fill="hold">
                          <p:stCondLst>
                            <p:cond delay="0"/>
                          </p:stCondLst>
                        </p:cTn>
                        <p:tgtEl>
                          <p:spTgt spid="139"/>
                        </p:tgtEl>
                        <p:attrNameLst>
                          <p:attrName>style.visibility</p:attrName>
                        </p:attrNameLst>
                      </p:cBhvr>
                      <p:to>
                        <p:strVal val="visible"/>
                      </p:to>
                    </p:set>
                    <p:anim calcmode="lin" valueType="num">
                      <p:cBhvr additive="base">
                        <p:cTn dur="800" fill="hold"/>
                        <p:tgtEl>
                          <p:spTgt spid="139"/>
                        </p:tgtEl>
                        <p:attrNameLst>
                          <p:attrName>ppt_x</p:attrName>
                        </p:attrNameLst>
                      </p:cBhvr>
                      <p:tavLst>
                        <p:tav tm="0">
                          <p:val>
                            <p:strVal val="#ppt_x"/>
                          </p:val>
                        </p:tav>
                        <p:tav tm="100000">
                          <p:val>
                            <p:strVal val="#ppt_x"/>
                          </p:val>
                        </p:tav>
                      </p:tavLst>
                    </p:anim>
                    <p:anim calcmode="lin" valueType="num">
                      <p:cBhvr additive="base">
                        <p:cTn dur="800" fill="hold"/>
                        <p:tgtEl>
                          <p:spTgt spid="139"/>
                        </p:tgtEl>
                        <p:attrNameLst>
                          <p:attrName>ppt_y</p:attrName>
                        </p:attrNameLst>
                      </p:cBhvr>
                      <p:tavLst>
                        <p:tav tm="0">
                          <p:val>
                            <p:strVal val="1+#ppt_h/2"/>
                          </p:val>
                        </p:tav>
                        <p:tav tm="100000">
                          <p:val>
                            <p:strVal val="#ppt_y"/>
                          </p:val>
                        </p:tav>
                      </p:tavLst>
                    </p:anim>
                  </p:childTnLst>
                </p:cTn>
              </p:par>
            </p:tnLst>
          </p:tmpl>
        </p:tmplLst>
      </p:bldP>
      <p:bldP spid="145" grpId="0" build="p">
        <p:tmplLst>
          <p:tmpl lvl="1">
            <p:tnLst>
              <p:par>
                <p:cTn presetID="2" presetClass="entr" presetSubtype="4" decel="100000" fill="hold" nodeType="withEffect">
                  <p:stCondLst>
                    <p:cond delay="600"/>
                  </p:stCondLst>
                  <p:childTnLst>
                    <p:set>
                      <p:cBhvr>
                        <p:cTn dur="1" fill="hold">
                          <p:stCondLst>
                            <p:cond delay="0"/>
                          </p:stCondLst>
                        </p:cTn>
                        <p:tgtEl>
                          <p:spTgt spid="145"/>
                        </p:tgtEl>
                        <p:attrNameLst>
                          <p:attrName>style.visibility</p:attrName>
                        </p:attrNameLst>
                      </p:cBhvr>
                      <p:to>
                        <p:strVal val="visible"/>
                      </p:to>
                    </p:set>
                    <p:anim calcmode="lin" valueType="num">
                      <p:cBhvr additive="base">
                        <p:cTn dur="800" fill="hold"/>
                        <p:tgtEl>
                          <p:spTgt spid="145"/>
                        </p:tgtEl>
                        <p:attrNameLst>
                          <p:attrName>ppt_x</p:attrName>
                        </p:attrNameLst>
                      </p:cBhvr>
                      <p:tavLst>
                        <p:tav tm="0">
                          <p:val>
                            <p:strVal val="#ppt_x"/>
                          </p:val>
                        </p:tav>
                        <p:tav tm="100000">
                          <p:val>
                            <p:strVal val="#ppt_x"/>
                          </p:val>
                        </p:tav>
                      </p:tavLst>
                    </p:anim>
                    <p:anim calcmode="lin" valueType="num">
                      <p:cBhvr additive="base">
                        <p:cTn dur="800" fill="hold"/>
                        <p:tgtEl>
                          <p:spTgt spid="14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ekop (en afsluiting)">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9F008B19-D67B-4C34-8388-EFB5849F2AFF}"/>
              </a:ext>
            </a:extLst>
          </p:cNvPr>
          <p:cNvSpPr/>
          <p:nvPr userDrawn="1"/>
        </p:nvSpPr>
        <p:spPr>
          <a:xfrm>
            <a:off x="0" y="1269736"/>
            <a:ext cx="12192000" cy="5588263"/>
          </a:xfrm>
          <a:prstGeom prst="rect">
            <a:avLst/>
          </a:prstGeom>
          <a:gradFill>
            <a:gsLst>
              <a:gs pos="0">
                <a:schemeClr val="accent1"/>
              </a:gs>
              <a:gs pos="45000">
                <a:srgbClr val="5F946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9" name="Graphic 8">
            <a:extLst>
              <a:ext uri="{FF2B5EF4-FFF2-40B4-BE49-F238E27FC236}">
                <a16:creationId xmlns:a16="http://schemas.microsoft.com/office/drawing/2014/main" id="{80810090-BA78-4A18-B582-D65C7E38EB2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315" y="267029"/>
            <a:ext cx="3147420" cy="717785"/>
          </a:xfrm>
          <a:prstGeom prst="rect">
            <a:avLst/>
          </a:prstGeom>
        </p:spPr>
      </p:pic>
      <p:sp>
        <p:nvSpPr>
          <p:cNvPr id="2" name="Titel 1">
            <a:extLst>
              <a:ext uri="{FF2B5EF4-FFF2-40B4-BE49-F238E27FC236}">
                <a16:creationId xmlns:a16="http://schemas.microsoft.com/office/drawing/2014/main" id="{63444841-AB8E-4E8B-A1AA-050101181A8A}"/>
              </a:ext>
            </a:extLst>
          </p:cNvPr>
          <p:cNvSpPr>
            <a:spLocks noGrp="1"/>
          </p:cNvSpPr>
          <p:nvPr>
            <p:ph type="title"/>
          </p:nvPr>
        </p:nvSpPr>
        <p:spPr>
          <a:xfrm>
            <a:off x="623887" y="1546861"/>
            <a:ext cx="10944226" cy="606442"/>
          </a:xfrm>
        </p:spPr>
        <p:txBody>
          <a:bodyPr wrap="square" anchor="t" anchorCtr="0"/>
          <a:lstStyle>
            <a:lvl1pPr>
              <a:defRPr sz="3400">
                <a:solidFill>
                  <a:schemeClr val="bg1"/>
                </a:solidFill>
              </a:defRPr>
            </a:lvl1pPr>
          </a:lstStyle>
          <a:p>
            <a:r>
              <a:rPr lang="nl-NL"/>
              <a:t>Klik om de stijl te bewerken</a:t>
            </a:r>
            <a:endParaRPr lang="nl-NL" dirty="0"/>
          </a:p>
        </p:txBody>
      </p:sp>
      <p:sp>
        <p:nvSpPr>
          <p:cNvPr id="3" name="Tijdelijke aanduiding voor tekst 2">
            <a:extLst>
              <a:ext uri="{FF2B5EF4-FFF2-40B4-BE49-F238E27FC236}">
                <a16:creationId xmlns:a16="http://schemas.microsoft.com/office/drawing/2014/main" id="{912336D0-FA95-4779-A214-44C24D44B8C9}"/>
              </a:ext>
            </a:extLst>
          </p:cNvPr>
          <p:cNvSpPr>
            <a:spLocks noGrp="1"/>
          </p:cNvSpPr>
          <p:nvPr>
            <p:ph type="body" idx="1" hasCustomPrompt="1"/>
          </p:nvPr>
        </p:nvSpPr>
        <p:spPr>
          <a:xfrm>
            <a:off x="623888" y="2146158"/>
            <a:ext cx="10944224" cy="318436"/>
          </a:xfrm>
        </p:spPr>
        <p:txBody>
          <a:bodyPr wrap="square"/>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dirty="0"/>
              <a:t>Tekststijl van het model bewerken</a:t>
            </a:r>
          </a:p>
        </p:txBody>
      </p:sp>
      <p:sp>
        <p:nvSpPr>
          <p:cNvPr id="4" name="Tijdelijke aanduiding voor datum 3">
            <a:extLst>
              <a:ext uri="{FF2B5EF4-FFF2-40B4-BE49-F238E27FC236}">
                <a16:creationId xmlns:a16="http://schemas.microsoft.com/office/drawing/2014/main" id="{B98D5D0F-E586-4CF8-A67D-F0A3E5A21C53}"/>
              </a:ext>
            </a:extLst>
          </p:cNvPr>
          <p:cNvSpPr>
            <a:spLocks noGrp="1"/>
          </p:cNvSpPr>
          <p:nvPr>
            <p:ph type="dt" sz="half" idx="10"/>
          </p:nvPr>
        </p:nvSpPr>
        <p:spPr>
          <a:xfrm>
            <a:off x="623888" y="2414943"/>
            <a:ext cx="2582466" cy="249608"/>
          </a:xfrm>
        </p:spPr>
        <p:txBody>
          <a:bodyPr anchor="t" anchorCtr="0"/>
          <a:lstStyle>
            <a:lvl1pPr>
              <a:defRPr>
                <a:solidFill>
                  <a:schemeClr val="bg1"/>
                </a:solidFill>
              </a:defRPr>
            </a:lvl1pPr>
          </a:lstStyle>
          <a:p>
            <a:fld id="{C19F3B34-6B0D-45FF-A390-8EBDD9B392CA}" type="datetimeFigureOut">
              <a:rPr lang="nl-NL" smtClean="0"/>
              <a:pPr/>
              <a:t>11-01-2024</a:t>
            </a:fld>
            <a:endParaRPr lang="nl-NL" dirty="0"/>
          </a:p>
        </p:txBody>
      </p:sp>
      <p:sp>
        <p:nvSpPr>
          <p:cNvPr id="5" name="Tijdelijke aanduiding voor voettekst 4">
            <a:extLst>
              <a:ext uri="{FF2B5EF4-FFF2-40B4-BE49-F238E27FC236}">
                <a16:creationId xmlns:a16="http://schemas.microsoft.com/office/drawing/2014/main" id="{4903FA02-B067-46C1-B3FC-2BE1B3E386F6}"/>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6" name="Tijdelijke aanduiding voor dianummer 5">
            <a:extLst>
              <a:ext uri="{FF2B5EF4-FFF2-40B4-BE49-F238E27FC236}">
                <a16:creationId xmlns:a16="http://schemas.microsoft.com/office/drawing/2014/main" id="{1BE47089-56FE-4ABC-8898-DB1FE7622EB7}"/>
              </a:ext>
            </a:extLst>
          </p:cNvPr>
          <p:cNvSpPr>
            <a:spLocks noGrp="1"/>
          </p:cNvSpPr>
          <p:nvPr>
            <p:ph type="sldNum" sz="quarter" idx="12"/>
          </p:nvPr>
        </p:nvSpPr>
        <p:spPr/>
        <p:txBody>
          <a:bodyPr/>
          <a:lstStyle>
            <a:lvl1pPr>
              <a:defRPr>
                <a:solidFill>
                  <a:schemeClr val="bg1"/>
                </a:solidFill>
              </a:defRPr>
            </a:lvl1pPr>
          </a:lstStyle>
          <a:p>
            <a:fld id="{F9DE7F4B-6E11-487C-9B28-4934A04645A5}" type="slidenum">
              <a:rPr lang="nl-NL" smtClean="0"/>
              <a:pPr/>
              <a:t>‹nr.›</a:t>
            </a:fld>
            <a:endParaRPr lang="nl-NL" dirty="0"/>
          </a:p>
        </p:txBody>
      </p:sp>
    </p:spTree>
    <p:extLst>
      <p:ext uri="{BB962C8B-B14F-4D97-AF65-F5344CB8AC3E}">
        <p14:creationId xmlns:p14="http://schemas.microsoft.com/office/powerpoint/2010/main" val="2553616333"/>
      </p:ext>
    </p:extLst>
  </p:cSld>
  <p:clrMapOvr>
    <a:masterClrMapping/>
  </p:clrMapOvr>
  <p:extLst>
    <p:ext uri="{DCECCB84-F9BA-43D5-87BE-67443E8EF086}">
      <p15:sldGuideLst xmlns:p15="http://schemas.microsoft.com/office/powerpoint/2012/main">
        <p15:guide id="1" pos="55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693408-AB44-4176-9270-2FF98521398A}"/>
              </a:ext>
            </a:extLst>
          </p:cNvPr>
          <p:cNvSpPr>
            <a:spLocks noGrp="1"/>
          </p:cNvSpPr>
          <p:nvPr>
            <p:ph type="title"/>
          </p:nvPr>
        </p:nvSpPr>
        <p:spPr/>
        <p:txBody>
          <a:bodyPr/>
          <a:lstStyle/>
          <a:p>
            <a:r>
              <a:rPr lang="nl-NL"/>
              <a:t>Klik om de stijl te bewerken</a:t>
            </a:r>
          </a:p>
        </p:txBody>
      </p:sp>
      <p:sp>
        <p:nvSpPr>
          <p:cNvPr id="3" name="Tijdelijke aanduiding voor inhoud 2">
            <a:extLst>
              <a:ext uri="{FF2B5EF4-FFF2-40B4-BE49-F238E27FC236}">
                <a16:creationId xmlns:a16="http://schemas.microsoft.com/office/drawing/2014/main" id="{EB2BA612-E490-44F2-BA61-FD5739D95182}"/>
              </a:ext>
            </a:extLst>
          </p:cNvPr>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80D8C0F-90D5-4BCC-83FE-0FA0655C0932}"/>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5" name="Tijdelijke aanduiding voor voettekst 4">
            <a:extLst>
              <a:ext uri="{FF2B5EF4-FFF2-40B4-BE49-F238E27FC236}">
                <a16:creationId xmlns:a16="http://schemas.microsoft.com/office/drawing/2014/main" id="{5EC52CA0-09FC-4C6F-B979-91AAAD7A6A57}"/>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17DAD2EA-BFDC-4A52-A1B0-55BB64D337EF}"/>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10" name="Tijdelijke aanduiding voor afbeelding 11">
            <a:extLst>
              <a:ext uri="{FF2B5EF4-FFF2-40B4-BE49-F238E27FC236}">
                <a16:creationId xmlns:a16="http://schemas.microsoft.com/office/drawing/2014/main" id="{E65FED13-CE9B-4BC8-BD68-EBB7EBC08B3C}"/>
              </a:ext>
            </a:extLst>
          </p:cNvPr>
          <p:cNvSpPr>
            <a:spLocks noGrp="1"/>
          </p:cNvSpPr>
          <p:nvPr>
            <p:ph type="pic" sz="quarter" idx="14"/>
          </p:nvPr>
        </p:nvSpPr>
        <p:spPr>
          <a:xfrm>
            <a:off x="6167438" y="1360488"/>
            <a:ext cx="6024562" cy="4697412"/>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4225001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400E2F-3B5A-4CE3-8812-3A0378F6D146}"/>
              </a:ext>
            </a:extLst>
          </p:cNvPr>
          <p:cNvSpPr>
            <a:spLocks noGrp="1"/>
          </p:cNvSpPr>
          <p:nvPr>
            <p:ph type="title"/>
          </p:nvPr>
        </p:nvSpPr>
        <p:spPr/>
        <p:txBody>
          <a:bodyPr/>
          <a:lstStyle/>
          <a:p>
            <a:r>
              <a:rPr lang="nl-NL"/>
              <a:t>Klik om de stijl te bewerken</a:t>
            </a:r>
          </a:p>
        </p:txBody>
      </p:sp>
      <p:sp>
        <p:nvSpPr>
          <p:cNvPr id="3" name="Tijdelijke aanduiding voor inhoud 2">
            <a:extLst>
              <a:ext uri="{FF2B5EF4-FFF2-40B4-BE49-F238E27FC236}">
                <a16:creationId xmlns:a16="http://schemas.microsoft.com/office/drawing/2014/main" id="{28E10AC5-78EA-4D68-A56B-117BFFC11011}"/>
              </a:ext>
            </a:extLst>
          </p:cNvPr>
          <p:cNvSpPr>
            <a:spLocks noGrp="1"/>
          </p:cNvSpPr>
          <p:nvPr>
            <p:ph sz="half" idx="1"/>
          </p:nvPr>
        </p:nvSpPr>
        <p:spPr>
          <a:xfrm>
            <a:off x="623887" y="1928813"/>
            <a:ext cx="5395913" cy="40211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inhoud 3">
            <a:extLst>
              <a:ext uri="{FF2B5EF4-FFF2-40B4-BE49-F238E27FC236}">
                <a16:creationId xmlns:a16="http://schemas.microsoft.com/office/drawing/2014/main" id="{D81EB223-65EF-4CF5-A97B-88FC6B821794}"/>
              </a:ext>
            </a:extLst>
          </p:cNvPr>
          <p:cNvSpPr>
            <a:spLocks noGrp="1"/>
          </p:cNvSpPr>
          <p:nvPr>
            <p:ph sz="half" idx="2"/>
          </p:nvPr>
        </p:nvSpPr>
        <p:spPr>
          <a:xfrm>
            <a:off x="6167438" y="1928813"/>
            <a:ext cx="5400674" cy="40211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datum 4">
            <a:extLst>
              <a:ext uri="{FF2B5EF4-FFF2-40B4-BE49-F238E27FC236}">
                <a16:creationId xmlns:a16="http://schemas.microsoft.com/office/drawing/2014/main" id="{EA1E7BEE-0326-497B-B74F-8A02E1FEBFEB}"/>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6" name="Tijdelijke aanduiding voor voettekst 5">
            <a:extLst>
              <a:ext uri="{FF2B5EF4-FFF2-40B4-BE49-F238E27FC236}">
                <a16:creationId xmlns:a16="http://schemas.microsoft.com/office/drawing/2014/main" id="{0A0DA213-AC14-48D0-8DF0-D5D29036A29E}"/>
              </a:ext>
            </a:extLst>
          </p:cNvPr>
          <p:cNvSpPr>
            <a:spLocks noGrp="1"/>
          </p:cNvSpPr>
          <p:nvPr>
            <p:ph type="ftr" sz="quarter" idx="11"/>
          </p:nvPr>
        </p:nvSpPr>
        <p:spPr/>
        <p:txBody>
          <a:bodyPr/>
          <a:lstStyle/>
          <a:p>
            <a:endParaRPr lang="nl-NL" dirty="0"/>
          </a:p>
        </p:txBody>
      </p:sp>
      <p:sp>
        <p:nvSpPr>
          <p:cNvPr id="7" name="Tijdelijke aanduiding voor dianummer 6">
            <a:extLst>
              <a:ext uri="{FF2B5EF4-FFF2-40B4-BE49-F238E27FC236}">
                <a16:creationId xmlns:a16="http://schemas.microsoft.com/office/drawing/2014/main" id="{886999A4-7900-457D-BF45-B95718D6ED0A}"/>
              </a:ext>
            </a:extLst>
          </p:cNvPr>
          <p:cNvSpPr>
            <a:spLocks noGrp="1"/>
          </p:cNvSpPr>
          <p:nvPr>
            <p:ph type="sldNum" sz="quarter" idx="12"/>
          </p:nvPr>
        </p:nvSpPr>
        <p:spPr/>
        <p:txBody>
          <a:bodyPr/>
          <a:lstStyle/>
          <a:p>
            <a:fld id="{F9DE7F4B-6E11-487C-9B28-4934A04645A5}" type="slidenum">
              <a:rPr lang="nl-NL" smtClean="0"/>
              <a:t>‹nr.›</a:t>
            </a:fld>
            <a:endParaRPr lang="nl-NL" dirty="0"/>
          </a:p>
        </p:txBody>
      </p:sp>
    </p:spTree>
    <p:extLst>
      <p:ext uri="{BB962C8B-B14F-4D97-AF65-F5344CB8AC3E}">
        <p14:creationId xmlns:p14="http://schemas.microsoft.com/office/powerpoint/2010/main" val="492402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400E2F-3B5A-4CE3-8812-3A0378F6D146}"/>
              </a:ext>
            </a:extLst>
          </p:cNvPr>
          <p:cNvSpPr>
            <a:spLocks noGrp="1"/>
          </p:cNvSpPr>
          <p:nvPr>
            <p:ph type="title"/>
          </p:nvPr>
        </p:nvSpPr>
        <p:spPr/>
        <p:txBody>
          <a:bodyPr/>
          <a:lstStyle/>
          <a:p>
            <a:r>
              <a:rPr lang="nl-NL"/>
              <a:t>Klik om de stijl te bewerken</a:t>
            </a:r>
          </a:p>
        </p:txBody>
      </p:sp>
      <p:sp>
        <p:nvSpPr>
          <p:cNvPr id="3" name="Tijdelijke aanduiding voor inhoud 2">
            <a:extLst>
              <a:ext uri="{FF2B5EF4-FFF2-40B4-BE49-F238E27FC236}">
                <a16:creationId xmlns:a16="http://schemas.microsoft.com/office/drawing/2014/main" id="{28E10AC5-78EA-4D68-A56B-117BFFC11011}"/>
              </a:ext>
            </a:extLst>
          </p:cNvPr>
          <p:cNvSpPr>
            <a:spLocks noGrp="1"/>
          </p:cNvSpPr>
          <p:nvPr>
            <p:ph sz="half" idx="1"/>
          </p:nvPr>
        </p:nvSpPr>
        <p:spPr>
          <a:xfrm>
            <a:off x="623887" y="1928813"/>
            <a:ext cx="5395913" cy="40211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inhoud 3">
            <a:extLst>
              <a:ext uri="{FF2B5EF4-FFF2-40B4-BE49-F238E27FC236}">
                <a16:creationId xmlns:a16="http://schemas.microsoft.com/office/drawing/2014/main" id="{D81EB223-65EF-4CF5-A97B-88FC6B821794}"/>
              </a:ext>
            </a:extLst>
          </p:cNvPr>
          <p:cNvSpPr>
            <a:spLocks noGrp="1"/>
          </p:cNvSpPr>
          <p:nvPr>
            <p:ph sz="half" idx="2" hasCustomPrompt="1"/>
          </p:nvPr>
        </p:nvSpPr>
        <p:spPr>
          <a:xfrm>
            <a:off x="6777644" y="1928813"/>
            <a:ext cx="4790468" cy="4021137"/>
          </a:xfrm>
        </p:spPr>
        <p:txBody>
          <a:bodyPr/>
          <a:lstStyle>
            <a:lvl1pPr>
              <a:defRPr b="1" i="1" baseline="0"/>
            </a:lvl1pPr>
            <a:lvl2pPr>
              <a:defRPr b="0" i="1" baseline="0"/>
            </a:lvl2pPr>
            <a:lvl3pPr>
              <a:defRPr b="0" i="1" baseline="0"/>
            </a:lvl3pPr>
            <a:lvl4pPr>
              <a:defRPr b="0" i="1" baseline="0"/>
            </a:lvl4pPr>
            <a:lvl5pPr>
              <a:defRPr b="0" i="1" baseline="0"/>
            </a:lvl5pPr>
          </a:lstStyle>
          <a:p>
            <a:r>
              <a:rPr lang="nl-NL" dirty="0"/>
              <a:t>Ruimte voor een citaat</a:t>
            </a:r>
          </a:p>
          <a:p>
            <a:pPr lvl="1"/>
            <a:r>
              <a:rPr lang="nl-NL" dirty="0"/>
              <a:t>‘Citaattekst’</a:t>
            </a:r>
          </a:p>
        </p:txBody>
      </p:sp>
      <p:sp>
        <p:nvSpPr>
          <p:cNvPr id="5" name="Tijdelijke aanduiding voor datum 4">
            <a:extLst>
              <a:ext uri="{FF2B5EF4-FFF2-40B4-BE49-F238E27FC236}">
                <a16:creationId xmlns:a16="http://schemas.microsoft.com/office/drawing/2014/main" id="{EA1E7BEE-0326-497B-B74F-8A02E1FEBFEB}"/>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6" name="Tijdelijke aanduiding voor voettekst 5">
            <a:extLst>
              <a:ext uri="{FF2B5EF4-FFF2-40B4-BE49-F238E27FC236}">
                <a16:creationId xmlns:a16="http://schemas.microsoft.com/office/drawing/2014/main" id="{0A0DA213-AC14-48D0-8DF0-D5D29036A29E}"/>
              </a:ext>
            </a:extLst>
          </p:cNvPr>
          <p:cNvSpPr>
            <a:spLocks noGrp="1"/>
          </p:cNvSpPr>
          <p:nvPr>
            <p:ph type="ftr" sz="quarter" idx="11"/>
          </p:nvPr>
        </p:nvSpPr>
        <p:spPr/>
        <p:txBody>
          <a:bodyPr/>
          <a:lstStyle/>
          <a:p>
            <a:endParaRPr lang="nl-NL" dirty="0"/>
          </a:p>
        </p:txBody>
      </p:sp>
      <p:sp>
        <p:nvSpPr>
          <p:cNvPr id="7" name="Tijdelijke aanduiding voor dianummer 6">
            <a:extLst>
              <a:ext uri="{FF2B5EF4-FFF2-40B4-BE49-F238E27FC236}">
                <a16:creationId xmlns:a16="http://schemas.microsoft.com/office/drawing/2014/main" id="{886999A4-7900-457D-BF45-B95718D6ED0A}"/>
              </a:ext>
            </a:extLst>
          </p:cNvPr>
          <p:cNvSpPr>
            <a:spLocks noGrp="1"/>
          </p:cNvSpPr>
          <p:nvPr>
            <p:ph type="sldNum" sz="quarter" idx="12"/>
          </p:nvPr>
        </p:nvSpPr>
        <p:spPr/>
        <p:txBody>
          <a:bodyPr/>
          <a:lstStyle/>
          <a:p>
            <a:fld id="{F9DE7F4B-6E11-487C-9B28-4934A04645A5}" type="slidenum">
              <a:rPr lang="nl-NL" smtClean="0"/>
              <a:t>‹nr.›</a:t>
            </a:fld>
            <a:endParaRPr lang="nl-NL" dirty="0"/>
          </a:p>
        </p:txBody>
      </p:sp>
    </p:spTree>
    <p:extLst>
      <p:ext uri="{BB962C8B-B14F-4D97-AF65-F5344CB8AC3E}">
        <p14:creationId xmlns:p14="http://schemas.microsoft.com/office/powerpoint/2010/main" val="3865642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20E8EB-C868-4D39-AA6F-2A0EAFDA75F4}"/>
              </a:ext>
            </a:extLst>
          </p:cNvPr>
          <p:cNvSpPr>
            <a:spLocks noGrp="1"/>
          </p:cNvSpPr>
          <p:nvPr>
            <p:ph type="title"/>
          </p:nvPr>
        </p:nvSpPr>
        <p:spPr>
          <a:xfrm>
            <a:off x="623887" y="207964"/>
            <a:ext cx="10944225" cy="1060450"/>
          </a:xfrm>
        </p:spPr>
        <p:txBody>
          <a:bodyPr/>
          <a:lstStyle/>
          <a:p>
            <a:r>
              <a:rPr lang="nl-NL"/>
              <a:t>Klik om de stijl te bewerken</a:t>
            </a:r>
            <a:endParaRPr lang="nl-NL" dirty="0"/>
          </a:p>
        </p:txBody>
      </p:sp>
      <p:sp>
        <p:nvSpPr>
          <p:cNvPr id="3" name="Tijdelijke aanduiding voor tekst 2">
            <a:extLst>
              <a:ext uri="{FF2B5EF4-FFF2-40B4-BE49-F238E27FC236}">
                <a16:creationId xmlns:a16="http://schemas.microsoft.com/office/drawing/2014/main" id="{58432631-D3A0-4B96-A22E-039A2F4A1068}"/>
              </a:ext>
            </a:extLst>
          </p:cNvPr>
          <p:cNvSpPr>
            <a:spLocks noGrp="1"/>
          </p:cNvSpPr>
          <p:nvPr>
            <p:ph type="body" idx="1" hasCustomPrompt="1"/>
          </p:nvPr>
        </p:nvSpPr>
        <p:spPr>
          <a:xfrm>
            <a:off x="623888" y="1928813"/>
            <a:ext cx="5400068" cy="448627"/>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ekststijl van het model bewerken</a:t>
            </a:r>
          </a:p>
        </p:txBody>
      </p:sp>
      <p:sp>
        <p:nvSpPr>
          <p:cNvPr id="4" name="Tijdelijke aanduiding voor inhoud 3">
            <a:extLst>
              <a:ext uri="{FF2B5EF4-FFF2-40B4-BE49-F238E27FC236}">
                <a16:creationId xmlns:a16="http://schemas.microsoft.com/office/drawing/2014/main" id="{3B30FFBC-A466-4557-8897-FC0F1D5CDED2}"/>
              </a:ext>
            </a:extLst>
          </p:cNvPr>
          <p:cNvSpPr>
            <a:spLocks noGrp="1"/>
          </p:cNvSpPr>
          <p:nvPr>
            <p:ph sz="half" idx="2" hasCustomPrompt="1"/>
          </p:nvPr>
        </p:nvSpPr>
        <p:spPr>
          <a:xfrm>
            <a:off x="623888" y="2505075"/>
            <a:ext cx="5400068" cy="3444875"/>
          </a:xfrm>
        </p:spPr>
        <p:txBody>
          <a:bodyPr/>
          <a:lstStyle>
            <a:lvl6pPr marL="1257300" indent="-271463">
              <a:defRPr/>
            </a:lvl6pPr>
          </a:lstStyle>
          <a:p>
            <a:pPr lvl="1"/>
            <a:r>
              <a:rPr lang="nl-NL" dirty="0"/>
              <a:t>Tekststijl van het model bewerken</a:t>
            </a:r>
          </a:p>
          <a:p>
            <a:pPr lvl="2"/>
            <a:r>
              <a:rPr lang="nl-NL" dirty="0"/>
              <a:t>Tweede niveau</a:t>
            </a:r>
          </a:p>
          <a:p>
            <a:pPr lvl="3"/>
            <a:r>
              <a:rPr lang="nl-NL" dirty="0"/>
              <a:t>Derde niveau</a:t>
            </a:r>
          </a:p>
          <a:p>
            <a:pPr lvl="4"/>
            <a:r>
              <a:rPr lang="nl-NL" dirty="0"/>
              <a:t>Vierde niveau</a:t>
            </a:r>
          </a:p>
          <a:p>
            <a:pPr lvl="5"/>
            <a:r>
              <a:rPr lang="nl-NL" dirty="0"/>
              <a:t>Vijfde niveau</a:t>
            </a:r>
          </a:p>
        </p:txBody>
      </p:sp>
      <p:sp>
        <p:nvSpPr>
          <p:cNvPr id="5" name="Tijdelijke aanduiding voor tekst 4">
            <a:extLst>
              <a:ext uri="{FF2B5EF4-FFF2-40B4-BE49-F238E27FC236}">
                <a16:creationId xmlns:a16="http://schemas.microsoft.com/office/drawing/2014/main" id="{C611856B-83D8-49F3-8B87-8F33182BDBE1}"/>
              </a:ext>
            </a:extLst>
          </p:cNvPr>
          <p:cNvSpPr>
            <a:spLocks noGrp="1"/>
          </p:cNvSpPr>
          <p:nvPr>
            <p:ph type="body" sz="quarter" idx="3" hasCustomPrompt="1"/>
          </p:nvPr>
        </p:nvSpPr>
        <p:spPr>
          <a:xfrm>
            <a:off x="6172200" y="1928813"/>
            <a:ext cx="5395912" cy="448627"/>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a:extLst>
              <a:ext uri="{FF2B5EF4-FFF2-40B4-BE49-F238E27FC236}">
                <a16:creationId xmlns:a16="http://schemas.microsoft.com/office/drawing/2014/main" id="{E27E68DA-EE67-4E8D-AF17-CBE735388EB9}"/>
              </a:ext>
            </a:extLst>
          </p:cNvPr>
          <p:cNvSpPr>
            <a:spLocks noGrp="1"/>
          </p:cNvSpPr>
          <p:nvPr>
            <p:ph sz="quarter" idx="4" hasCustomPrompt="1"/>
          </p:nvPr>
        </p:nvSpPr>
        <p:spPr>
          <a:xfrm>
            <a:off x="6172200" y="2505075"/>
            <a:ext cx="5395912" cy="3444875"/>
          </a:xfrm>
        </p:spPr>
        <p:txBody>
          <a:bodyPr/>
          <a:lstStyle>
            <a:lvl6pPr marL="1257300" indent="-271463">
              <a:defRPr/>
            </a:lvl6pPr>
          </a:lstStyle>
          <a:p>
            <a:pPr lvl="1"/>
            <a:r>
              <a:rPr lang="nl-NL" dirty="0"/>
              <a:t>Tekststijl van het model bewerken</a:t>
            </a:r>
          </a:p>
          <a:p>
            <a:pPr lvl="2"/>
            <a:r>
              <a:rPr lang="nl-NL" dirty="0"/>
              <a:t>Tweede niveau</a:t>
            </a:r>
          </a:p>
          <a:p>
            <a:pPr lvl="3"/>
            <a:r>
              <a:rPr lang="nl-NL" dirty="0"/>
              <a:t>Derde niveau</a:t>
            </a:r>
          </a:p>
          <a:p>
            <a:pPr lvl="4"/>
            <a:r>
              <a:rPr lang="nl-NL" dirty="0"/>
              <a:t>Vierde niveau</a:t>
            </a:r>
          </a:p>
          <a:p>
            <a:pPr lvl="5"/>
            <a:r>
              <a:rPr lang="nl-NL" dirty="0"/>
              <a:t>Vijfde niveau</a:t>
            </a:r>
          </a:p>
        </p:txBody>
      </p:sp>
      <p:sp>
        <p:nvSpPr>
          <p:cNvPr id="7" name="Tijdelijke aanduiding voor datum 6">
            <a:extLst>
              <a:ext uri="{FF2B5EF4-FFF2-40B4-BE49-F238E27FC236}">
                <a16:creationId xmlns:a16="http://schemas.microsoft.com/office/drawing/2014/main" id="{A78EC004-3BC5-4D78-8A0E-A26263A766E7}"/>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8" name="Tijdelijke aanduiding voor voettekst 7">
            <a:extLst>
              <a:ext uri="{FF2B5EF4-FFF2-40B4-BE49-F238E27FC236}">
                <a16:creationId xmlns:a16="http://schemas.microsoft.com/office/drawing/2014/main" id="{B69EBDC0-76C1-4933-8592-B4CD863192B2}"/>
              </a:ext>
            </a:extLst>
          </p:cNvPr>
          <p:cNvSpPr>
            <a:spLocks noGrp="1"/>
          </p:cNvSpPr>
          <p:nvPr>
            <p:ph type="ftr" sz="quarter" idx="11"/>
          </p:nvPr>
        </p:nvSpPr>
        <p:spPr/>
        <p:txBody>
          <a:bodyPr/>
          <a:lstStyle/>
          <a:p>
            <a:endParaRPr lang="nl-NL" dirty="0"/>
          </a:p>
        </p:txBody>
      </p:sp>
      <p:sp>
        <p:nvSpPr>
          <p:cNvPr id="9" name="Tijdelijke aanduiding voor dianummer 8">
            <a:extLst>
              <a:ext uri="{FF2B5EF4-FFF2-40B4-BE49-F238E27FC236}">
                <a16:creationId xmlns:a16="http://schemas.microsoft.com/office/drawing/2014/main" id="{B142F000-2974-4F5D-A01D-B542F2900DD4}"/>
              </a:ext>
            </a:extLst>
          </p:cNvPr>
          <p:cNvSpPr>
            <a:spLocks noGrp="1"/>
          </p:cNvSpPr>
          <p:nvPr>
            <p:ph type="sldNum" sz="quarter" idx="12"/>
          </p:nvPr>
        </p:nvSpPr>
        <p:spPr/>
        <p:txBody>
          <a:bodyPr/>
          <a:lstStyle/>
          <a:p>
            <a:fld id="{F9DE7F4B-6E11-487C-9B28-4934A04645A5}" type="slidenum">
              <a:rPr lang="nl-NL" smtClean="0"/>
              <a:t>‹nr.›</a:t>
            </a:fld>
            <a:endParaRPr lang="nl-NL" dirty="0"/>
          </a:p>
        </p:txBody>
      </p:sp>
    </p:spTree>
    <p:extLst>
      <p:ext uri="{BB962C8B-B14F-4D97-AF65-F5344CB8AC3E}">
        <p14:creationId xmlns:p14="http://schemas.microsoft.com/office/powerpoint/2010/main" val="3053258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693408-AB44-4176-9270-2FF98521398A}"/>
              </a:ext>
            </a:extLst>
          </p:cNvPr>
          <p:cNvSpPr>
            <a:spLocks noGrp="1"/>
          </p:cNvSpPr>
          <p:nvPr>
            <p:ph type="title"/>
          </p:nvPr>
        </p:nvSpPr>
        <p:spPr>
          <a:xfrm>
            <a:off x="623887" y="254324"/>
            <a:ext cx="10944225" cy="499414"/>
          </a:xfrm>
        </p:spPr>
        <p:txBody>
          <a:bodyPr/>
          <a:lstStyle/>
          <a:p>
            <a:r>
              <a:rPr lang="nl-NL"/>
              <a:t>Klik om de stijl te bewerken</a:t>
            </a:r>
            <a:endParaRPr lang="nl-NL" dirty="0"/>
          </a:p>
        </p:txBody>
      </p:sp>
      <p:sp>
        <p:nvSpPr>
          <p:cNvPr id="3" name="Tijdelijke aanduiding voor inhoud 2">
            <a:extLst>
              <a:ext uri="{FF2B5EF4-FFF2-40B4-BE49-F238E27FC236}">
                <a16:creationId xmlns:a16="http://schemas.microsoft.com/office/drawing/2014/main" id="{EB2BA612-E490-44F2-BA61-FD5739D95182}"/>
              </a:ext>
            </a:extLst>
          </p:cNvPr>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80D8C0F-90D5-4BCC-83FE-0FA0655C0932}"/>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5" name="Tijdelijke aanduiding voor voettekst 4">
            <a:extLst>
              <a:ext uri="{FF2B5EF4-FFF2-40B4-BE49-F238E27FC236}">
                <a16:creationId xmlns:a16="http://schemas.microsoft.com/office/drawing/2014/main" id="{5EC52CA0-09FC-4C6F-B979-91AAAD7A6A57}"/>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17DAD2EA-BFDC-4A52-A1B0-55BB64D337EF}"/>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8" name="Tijdelijke aanduiding voor tekst 7">
            <a:extLst>
              <a:ext uri="{FF2B5EF4-FFF2-40B4-BE49-F238E27FC236}">
                <a16:creationId xmlns:a16="http://schemas.microsoft.com/office/drawing/2014/main" id="{C114F528-DB64-488F-8BC6-67FFAC7A6953}"/>
              </a:ext>
            </a:extLst>
          </p:cNvPr>
          <p:cNvSpPr>
            <a:spLocks noGrp="1"/>
          </p:cNvSpPr>
          <p:nvPr>
            <p:ph type="body" sz="quarter" idx="13" hasCustomPrompt="1"/>
          </p:nvPr>
        </p:nvSpPr>
        <p:spPr>
          <a:xfrm>
            <a:off x="623887" y="753737"/>
            <a:ext cx="5400676" cy="238840"/>
          </a:xfrm>
        </p:spPr>
        <p:txBody>
          <a:bodyPr/>
          <a:lstStyle>
            <a:lvl1pPr>
              <a:defRPr sz="2200" b="0">
                <a:solidFill>
                  <a:schemeClr val="tx1"/>
                </a:solidFill>
                <a:latin typeface="Abadi" panose="020B0604020104020204" pitchFamily="34" charset="0"/>
              </a:defRPr>
            </a:lvl1pPr>
            <a:lvl2pPr>
              <a:defRPr sz="1800"/>
            </a:lvl2pPr>
            <a:lvl3pPr>
              <a:defRPr sz="1600"/>
            </a:lvl3pPr>
            <a:lvl4pPr>
              <a:defRPr sz="1400"/>
            </a:lvl4pPr>
            <a:lvl5pPr>
              <a:defRPr sz="1400"/>
            </a:lvl5pPr>
          </a:lstStyle>
          <a:p>
            <a:pPr lvl="0"/>
            <a:r>
              <a:rPr lang="nl-NL" dirty="0"/>
              <a:t>Ruimte voor Subtitel</a:t>
            </a:r>
          </a:p>
        </p:txBody>
      </p:sp>
      <p:sp>
        <p:nvSpPr>
          <p:cNvPr id="10" name="Tijdelijke aanduiding voor afbeelding 11">
            <a:extLst>
              <a:ext uri="{FF2B5EF4-FFF2-40B4-BE49-F238E27FC236}">
                <a16:creationId xmlns:a16="http://schemas.microsoft.com/office/drawing/2014/main" id="{E65FED13-CE9B-4BC8-BD68-EBB7EBC08B3C}"/>
              </a:ext>
            </a:extLst>
          </p:cNvPr>
          <p:cNvSpPr>
            <a:spLocks noGrp="1"/>
          </p:cNvSpPr>
          <p:nvPr>
            <p:ph type="pic" sz="quarter" idx="14"/>
          </p:nvPr>
        </p:nvSpPr>
        <p:spPr>
          <a:xfrm>
            <a:off x="6167438" y="1360488"/>
            <a:ext cx="6024562" cy="4697412"/>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2404542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subtitel en fot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693408-AB44-4176-9270-2FF98521398A}"/>
              </a:ext>
            </a:extLst>
          </p:cNvPr>
          <p:cNvSpPr>
            <a:spLocks noGrp="1"/>
          </p:cNvSpPr>
          <p:nvPr>
            <p:ph type="title"/>
          </p:nvPr>
        </p:nvSpPr>
        <p:spPr>
          <a:xfrm>
            <a:off x="623887" y="254324"/>
            <a:ext cx="10944225" cy="499414"/>
          </a:xfrm>
        </p:spPr>
        <p:txBody>
          <a:bodyPr/>
          <a:lstStyle/>
          <a:p>
            <a:r>
              <a:rPr lang="nl-NL"/>
              <a:t>Klik om de stijl te bewerken</a:t>
            </a:r>
            <a:endParaRPr lang="nl-NL" dirty="0"/>
          </a:p>
        </p:txBody>
      </p:sp>
      <p:sp>
        <p:nvSpPr>
          <p:cNvPr id="4" name="Tijdelijke aanduiding voor datum 3">
            <a:extLst>
              <a:ext uri="{FF2B5EF4-FFF2-40B4-BE49-F238E27FC236}">
                <a16:creationId xmlns:a16="http://schemas.microsoft.com/office/drawing/2014/main" id="{C80D8C0F-90D5-4BCC-83FE-0FA0655C0932}"/>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5" name="Tijdelijke aanduiding voor voettekst 4">
            <a:extLst>
              <a:ext uri="{FF2B5EF4-FFF2-40B4-BE49-F238E27FC236}">
                <a16:creationId xmlns:a16="http://schemas.microsoft.com/office/drawing/2014/main" id="{5EC52CA0-09FC-4C6F-B979-91AAAD7A6A57}"/>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17DAD2EA-BFDC-4A52-A1B0-55BB64D337EF}"/>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8" name="Tijdelijke aanduiding voor tekst 7">
            <a:extLst>
              <a:ext uri="{FF2B5EF4-FFF2-40B4-BE49-F238E27FC236}">
                <a16:creationId xmlns:a16="http://schemas.microsoft.com/office/drawing/2014/main" id="{C114F528-DB64-488F-8BC6-67FFAC7A6953}"/>
              </a:ext>
            </a:extLst>
          </p:cNvPr>
          <p:cNvSpPr>
            <a:spLocks noGrp="1"/>
          </p:cNvSpPr>
          <p:nvPr>
            <p:ph type="body" sz="quarter" idx="13" hasCustomPrompt="1"/>
          </p:nvPr>
        </p:nvSpPr>
        <p:spPr>
          <a:xfrm>
            <a:off x="623887" y="753737"/>
            <a:ext cx="5400676" cy="238840"/>
          </a:xfrm>
        </p:spPr>
        <p:txBody>
          <a:bodyPr/>
          <a:lstStyle>
            <a:lvl1pPr>
              <a:defRPr sz="2200" b="0">
                <a:solidFill>
                  <a:schemeClr val="tx1"/>
                </a:solidFill>
                <a:latin typeface="Abadi" panose="020B0604020104020204" pitchFamily="34" charset="0"/>
              </a:defRPr>
            </a:lvl1pPr>
            <a:lvl2pPr>
              <a:defRPr sz="1800"/>
            </a:lvl2pPr>
            <a:lvl3pPr>
              <a:defRPr sz="1600"/>
            </a:lvl3pPr>
            <a:lvl4pPr>
              <a:defRPr sz="1400"/>
            </a:lvl4pPr>
            <a:lvl5pPr>
              <a:defRPr sz="1400"/>
            </a:lvl5pPr>
          </a:lstStyle>
          <a:p>
            <a:pPr lvl="0"/>
            <a:r>
              <a:rPr lang="nl-NL" dirty="0"/>
              <a:t>Ruimte voor Subtitel</a:t>
            </a:r>
          </a:p>
        </p:txBody>
      </p:sp>
      <p:sp>
        <p:nvSpPr>
          <p:cNvPr id="10" name="Tijdelijke aanduiding voor afbeelding 11">
            <a:extLst>
              <a:ext uri="{FF2B5EF4-FFF2-40B4-BE49-F238E27FC236}">
                <a16:creationId xmlns:a16="http://schemas.microsoft.com/office/drawing/2014/main" id="{E65FED13-CE9B-4BC8-BD68-EBB7EBC08B3C}"/>
              </a:ext>
            </a:extLst>
          </p:cNvPr>
          <p:cNvSpPr>
            <a:spLocks noGrp="1"/>
          </p:cNvSpPr>
          <p:nvPr>
            <p:ph type="pic" sz="quarter" idx="14"/>
          </p:nvPr>
        </p:nvSpPr>
        <p:spPr>
          <a:xfrm>
            <a:off x="0" y="1360488"/>
            <a:ext cx="12192000" cy="4697412"/>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3764762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en fot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22407-8122-47BA-927C-D3B05D9E10E2}"/>
              </a:ext>
            </a:extLst>
          </p:cNvPr>
          <p:cNvSpPr>
            <a:spLocks noGrp="1"/>
          </p:cNvSpPr>
          <p:nvPr>
            <p:ph type="title"/>
          </p:nvPr>
        </p:nvSpPr>
        <p:spPr/>
        <p:txBody>
          <a:bodyPr/>
          <a:lstStyle/>
          <a:p>
            <a:r>
              <a:rPr lang="nl-NL"/>
              <a:t>Klik om de stijl te bewerken</a:t>
            </a:r>
          </a:p>
        </p:txBody>
      </p:sp>
      <p:sp>
        <p:nvSpPr>
          <p:cNvPr id="3" name="Tijdelijke aanduiding voor datum 2">
            <a:extLst>
              <a:ext uri="{FF2B5EF4-FFF2-40B4-BE49-F238E27FC236}">
                <a16:creationId xmlns:a16="http://schemas.microsoft.com/office/drawing/2014/main" id="{3A981402-0350-46D7-8838-3FF2C0810827}"/>
              </a:ext>
            </a:extLst>
          </p:cNvPr>
          <p:cNvSpPr>
            <a:spLocks noGrp="1"/>
          </p:cNvSpPr>
          <p:nvPr>
            <p:ph type="dt" sz="half" idx="10"/>
          </p:nvPr>
        </p:nvSpPr>
        <p:spPr/>
        <p:txBody>
          <a:bodyPr/>
          <a:lstStyle/>
          <a:p>
            <a:fld id="{C19F3B34-6B0D-45FF-A390-8EBDD9B392CA}" type="datetimeFigureOut">
              <a:rPr lang="nl-NL" smtClean="0"/>
              <a:t>11-01-2024</a:t>
            </a:fld>
            <a:endParaRPr lang="nl-NL" dirty="0"/>
          </a:p>
        </p:txBody>
      </p:sp>
      <p:sp>
        <p:nvSpPr>
          <p:cNvPr id="4" name="Tijdelijke aanduiding voor voettekst 3">
            <a:extLst>
              <a:ext uri="{FF2B5EF4-FFF2-40B4-BE49-F238E27FC236}">
                <a16:creationId xmlns:a16="http://schemas.microsoft.com/office/drawing/2014/main" id="{06165557-5893-4C97-B0E2-CE0ABC5D2259}"/>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B215D9DD-D600-46EA-BE84-98EA2EDF0724}"/>
              </a:ext>
            </a:extLst>
          </p:cNvPr>
          <p:cNvSpPr>
            <a:spLocks noGrp="1"/>
          </p:cNvSpPr>
          <p:nvPr>
            <p:ph type="sldNum" sz="quarter" idx="12"/>
          </p:nvPr>
        </p:nvSpPr>
        <p:spPr/>
        <p:txBody>
          <a:bodyPr/>
          <a:lstStyle/>
          <a:p>
            <a:fld id="{F9DE7F4B-6E11-487C-9B28-4934A04645A5}" type="slidenum">
              <a:rPr lang="nl-NL" smtClean="0"/>
              <a:t>‹nr.›</a:t>
            </a:fld>
            <a:endParaRPr lang="nl-NL" dirty="0"/>
          </a:p>
        </p:txBody>
      </p:sp>
      <p:sp>
        <p:nvSpPr>
          <p:cNvPr id="7" name="Tijdelijke aanduiding voor afbeelding 6">
            <a:extLst>
              <a:ext uri="{FF2B5EF4-FFF2-40B4-BE49-F238E27FC236}">
                <a16:creationId xmlns:a16="http://schemas.microsoft.com/office/drawing/2014/main" id="{4A076717-902D-48BD-AA86-0FE08881BCD6}"/>
              </a:ext>
            </a:extLst>
          </p:cNvPr>
          <p:cNvSpPr>
            <a:spLocks noGrp="1"/>
          </p:cNvSpPr>
          <p:nvPr>
            <p:ph type="pic" sz="quarter" idx="13"/>
          </p:nvPr>
        </p:nvSpPr>
        <p:spPr>
          <a:xfrm>
            <a:off x="0" y="1360488"/>
            <a:ext cx="12192000" cy="4697412"/>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2895353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61559FA0-9526-431E-9189-7F8FE8ABD9AA}"/>
              </a:ext>
            </a:extLst>
          </p:cNvPr>
          <p:cNvSpPr>
            <a:spLocks noGrp="1"/>
          </p:cNvSpPr>
          <p:nvPr>
            <p:ph type="title"/>
          </p:nvPr>
        </p:nvSpPr>
        <p:spPr>
          <a:xfrm>
            <a:off x="623887" y="208465"/>
            <a:ext cx="10944225" cy="1042320"/>
          </a:xfrm>
          <a:prstGeom prst="rect">
            <a:avLst/>
          </a:prstGeom>
        </p:spPr>
        <p:txBody>
          <a:bodyPr vert="horz" lIns="0" tIns="0" rIns="0" bIns="0" rtlCol="0" anchor="ctr" anchorCtr="0">
            <a:no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14A06FFB-8ECA-43C3-8DE3-92A5BF0469EE}"/>
              </a:ext>
            </a:extLst>
          </p:cNvPr>
          <p:cNvSpPr>
            <a:spLocks noGrp="1"/>
          </p:cNvSpPr>
          <p:nvPr>
            <p:ph type="body" idx="1"/>
          </p:nvPr>
        </p:nvSpPr>
        <p:spPr>
          <a:xfrm>
            <a:off x="623888" y="1928813"/>
            <a:ext cx="5400675" cy="4031922"/>
          </a:xfrm>
          <a:prstGeom prst="rect">
            <a:avLst/>
          </a:prstGeom>
        </p:spPr>
        <p:txBody>
          <a:bodyPr vert="horz" lIns="0" tIns="0" rIns="0" bIns="0" rtlCol="0">
            <a:no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35FDD5D0-FBAC-4B8F-B0CE-8795D214AE51}"/>
              </a:ext>
            </a:extLst>
          </p:cNvPr>
          <p:cNvSpPr>
            <a:spLocks noGrp="1"/>
          </p:cNvSpPr>
          <p:nvPr>
            <p:ph type="dt" sz="half" idx="2"/>
          </p:nvPr>
        </p:nvSpPr>
        <p:spPr>
          <a:xfrm>
            <a:off x="3442097" y="6448177"/>
            <a:ext cx="2582466" cy="249608"/>
          </a:xfrm>
          <a:prstGeom prst="rect">
            <a:avLst/>
          </a:prstGeom>
        </p:spPr>
        <p:txBody>
          <a:bodyPr vert="horz" lIns="0" tIns="0" rIns="0" bIns="0" rtlCol="0" anchor="b" anchorCtr="0"/>
          <a:lstStyle>
            <a:lvl1pPr algn="l">
              <a:defRPr sz="1600">
                <a:solidFill>
                  <a:schemeClr val="tx2"/>
                </a:solidFill>
              </a:defRPr>
            </a:lvl1pPr>
          </a:lstStyle>
          <a:p>
            <a:fld id="{C19F3B34-6B0D-45FF-A390-8EBDD9B392CA}" type="datetimeFigureOut">
              <a:rPr lang="nl-NL" smtClean="0"/>
              <a:pPr/>
              <a:t>11-01-2024</a:t>
            </a:fld>
            <a:endParaRPr lang="nl-NL" dirty="0"/>
          </a:p>
        </p:txBody>
      </p:sp>
      <p:sp>
        <p:nvSpPr>
          <p:cNvPr id="5" name="Tijdelijke aanduiding voor voettekst 4">
            <a:extLst>
              <a:ext uri="{FF2B5EF4-FFF2-40B4-BE49-F238E27FC236}">
                <a16:creationId xmlns:a16="http://schemas.microsoft.com/office/drawing/2014/main" id="{E84A78F5-4920-4B26-B15C-9AF3ED042AC6}"/>
              </a:ext>
            </a:extLst>
          </p:cNvPr>
          <p:cNvSpPr>
            <a:spLocks noGrp="1"/>
          </p:cNvSpPr>
          <p:nvPr>
            <p:ph type="ftr" sz="quarter" idx="3"/>
          </p:nvPr>
        </p:nvSpPr>
        <p:spPr>
          <a:xfrm>
            <a:off x="6167438" y="6448177"/>
            <a:ext cx="4568470" cy="249608"/>
          </a:xfrm>
          <a:prstGeom prst="rect">
            <a:avLst/>
          </a:prstGeom>
        </p:spPr>
        <p:txBody>
          <a:bodyPr vert="horz" lIns="0" tIns="0" rIns="0" bIns="0" rtlCol="0" anchor="b" anchorCtr="0"/>
          <a:lstStyle>
            <a:lvl1pPr algn="ctr">
              <a:defRPr sz="1600">
                <a:solidFill>
                  <a:schemeClr val="tx2"/>
                </a:solidFill>
              </a:defRPr>
            </a:lvl1pPr>
          </a:lstStyle>
          <a:p>
            <a:endParaRPr lang="nl-NL" dirty="0"/>
          </a:p>
        </p:txBody>
      </p:sp>
      <p:sp>
        <p:nvSpPr>
          <p:cNvPr id="6" name="Tijdelijke aanduiding voor dianummer 5">
            <a:extLst>
              <a:ext uri="{FF2B5EF4-FFF2-40B4-BE49-F238E27FC236}">
                <a16:creationId xmlns:a16="http://schemas.microsoft.com/office/drawing/2014/main" id="{A752B93B-9360-4132-90EF-CCE2063F91CD}"/>
              </a:ext>
            </a:extLst>
          </p:cNvPr>
          <p:cNvSpPr>
            <a:spLocks noGrp="1"/>
          </p:cNvSpPr>
          <p:nvPr>
            <p:ph type="sldNum" sz="quarter" idx="4"/>
          </p:nvPr>
        </p:nvSpPr>
        <p:spPr>
          <a:xfrm>
            <a:off x="10906470" y="6448177"/>
            <a:ext cx="661643" cy="249608"/>
          </a:xfrm>
          <a:prstGeom prst="rect">
            <a:avLst/>
          </a:prstGeom>
        </p:spPr>
        <p:txBody>
          <a:bodyPr vert="horz" lIns="0" tIns="0" rIns="0" bIns="0" rtlCol="0" anchor="b" anchorCtr="0"/>
          <a:lstStyle>
            <a:lvl1pPr algn="r">
              <a:defRPr sz="1600">
                <a:solidFill>
                  <a:schemeClr val="tx2"/>
                </a:solidFill>
              </a:defRPr>
            </a:lvl1pPr>
          </a:lstStyle>
          <a:p>
            <a:fld id="{F9DE7F4B-6E11-487C-9B28-4934A04645A5}" type="slidenum">
              <a:rPr lang="nl-NL" smtClean="0"/>
              <a:pPr/>
              <a:t>‹nr.›</a:t>
            </a:fld>
            <a:endParaRPr lang="nl-NL" dirty="0"/>
          </a:p>
        </p:txBody>
      </p:sp>
      <p:pic>
        <p:nvPicPr>
          <p:cNvPr id="11" name="Graphic 10">
            <a:extLst>
              <a:ext uri="{FF2B5EF4-FFF2-40B4-BE49-F238E27FC236}">
                <a16:creationId xmlns:a16="http://schemas.microsoft.com/office/drawing/2014/main" id="{727AA9CF-86EC-4F85-B6B9-71C9BA49A58D}"/>
              </a:ext>
            </a:extLst>
          </p:cNvPr>
          <p:cNvPicPr>
            <a:picLocks noChangeAspect="1"/>
          </p:cNvPicPr>
          <p:nvPr userDrawn="1"/>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23888" y="6168097"/>
            <a:ext cx="2194321" cy="500426"/>
          </a:xfrm>
          <a:prstGeom prst="rect">
            <a:avLst/>
          </a:prstGeom>
        </p:spPr>
      </p:pic>
      <p:sp>
        <p:nvSpPr>
          <p:cNvPr id="12" name="Rechthoek 11">
            <a:extLst>
              <a:ext uri="{FF2B5EF4-FFF2-40B4-BE49-F238E27FC236}">
                <a16:creationId xmlns:a16="http://schemas.microsoft.com/office/drawing/2014/main" id="{04A27722-B518-45E5-9D74-2125EE95FE92}"/>
              </a:ext>
            </a:extLst>
          </p:cNvPr>
          <p:cNvSpPr/>
          <p:nvPr userDrawn="1"/>
        </p:nvSpPr>
        <p:spPr>
          <a:xfrm>
            <a:off x="0" y="1269737"/>
            <a:ext cx="12192000" cy="92338"/>
          </a:xfrm>
          <a:prstGeom prst="rect">
            <a:avLst/>
          </a:prstGeom>
          <a:gradFill>
            <a:gsLst>
              <a:gs pos="0">
                <a:schemeClr val="accent1"/>
              </a:gs>
              <a:gs pos="45000">
                <a:srgbClr val="5F946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cxnSp>
        <p:nvCxnSpPr>
          <p:cNvPr id="13" name="Rechte verbindingslijn 12">
            <a:extLst>
              <a:ext uri="{FF2B5EF4-FFF2-40B4-BE49-F238E27FC236}">
                <a16:creationId xmlns:a16="http://schemas.microsoft.com/office/drawing/2014/main" id="{304DE393-2470-461E-A176-C0D24C3B1C24}"/>
              </a:ext>
            </a:extLst>
          </p:cNvPr>
          <p:cNvCxnSpPr/>
          <p:nvPr userDrawn="1"/>
        </p:nvCxnSpPr>
        <p:spPr>
          <a:xfrm>
            <a:off x="623888" y="6059651"/>
            <a:ext cx="109442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2" name="Afbeelding 181" descr="Afbeelding met schermafbeelding&#10;&#10;Automatisch gegenereerde beschrijving">
            <a:extLst>
              <a:ext uri="{FF2B5EF4-FFF2-40B4-BE49-F238E27FC236}">
                <a16:creationId xmlns:a16="http://schemas.microsoft.com/office/drawing/2014/main" id="{18827072-5BE8-4457-A7E0-4FC0BC7EC2A5}"/>
              </a:ext>
            </a:extLst>
          </p:cNvPr>
          <p:cNvPicPr>
            <a:picLocks noChangeAspect="1"/>
          </p:cNvPicPr>
          <p:nvPr userDrawn="1"/>
        </p:nvPicPr>
        <p:blipFill>
          <a:blip r:embed="rId18"/>
          <a:stretch>
            <a:fillRect/>
          </a:stretch>
        </p:blipFill>
        <p:spPr>
          <a:xfrm>
            <a:off x="-2516665" y="1835965"/>
            <a:ext cx="2459703" cy="4358594"/>
          </a:xfrm>
          <a:prstGeom prst="rect">
            <a:avLst/>
          </a:prstGeom>
        </p:spPr>
      </p:pic>
    </p:spTree>
    <p:extLst>
      <p:ext uri="{BB962C8B-B14F-4D97-AF65-F5344CB8AC3E}">
        <p14:creationId xmlns:p14="http://schemas.microsoft.com/office/powerpoint/2010/main" val="3514924486"/>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60" r:id="rId3"/>
    <p:sldLayoutId id="2147483652" r:id="rId4"/>
    <p:sldLayoutId id="2147483663" r:id="rId5"/>
    <p:sldLayoutId id="2147483653" r:id="rId6"/>
    <p:sldLayoutId id="2147483650" r:id="rId7"/>
    <p:sldLayoutId id="2147483665" r:id="rId8"/>
    <p:sldLayoutId id="2147483654" r:id="rId9"/>
    <p:sldLayoutId id="2147483664" r:id="rId10"/>
    <p:sldLayoutId id="2147483661" r:id="rId11"/>
    <p:sldLayoutId id="2147483662" r:id="rId12"/>
    <p:sldLayoutId id="2147483655" r:id="rId13"/>
    <p:sldLayoutId id="2147483666" r:id="rId14"/>
  </p:sldLayoutIdLst>
  <p:txStyles>
    <p:titleStyle>
      <a:lvl1pPr algn="l" defTabSz="914400" rtl="0" eaLnBrk="1" latinLnBrk="0" hangingPunct="1">
        <a:lnSpc>
          <a:spcPct val="90000"/>
        </a:lnSpc>
        <a:spcBef>
          <a:spcPct val="0"/>
        </a:spcBef>
        <a:buNone/>
        <a:defRPr sz="3400" b="1" kern="1200" baseline="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Clr>
          <a:schemeClr val="tx2"/>
        </a:buClr>
        <a:buSzPct val="100000"/>
        <a:buFont typeface="Wingdings" panose="05000000000000000000" pitchFamily="2" charset="2"/>
        <a:buNone/>
        <a:defRPr sz="2000" b="1" kern="1200">
          <a:solidFill>
            <a:schemeClr val="accent1"/>
          </a:solidFill>
          <a:latin typeface="+mn-lt"/>
          <a:ea typeface="+mn-ea"/>
          <a:cs typeface="+mn-cs"/>
        </a:defRPr>
      </a:lvl1pPr>
      <a:lvl2pPr marL="4763" indent="0" algn="l" defTabSz="914400" rtl="0" eaLnBrk="1" latinLnBrk="0" hangingPunct="1">
        <a:lnSpc>
          <a:spcPct val="90000"/>
        </a:lnSpc>
        <a:spcBef>
          <a:spcPts val="0"/>
        </a:spcBef>
        <a:buClr>
          <a:schemeClr val="tx2"/>
        </a:buClr>
        <a:buSzPct val="100000"/>
        <a:buFont typeface="Wingdings" panose="05000000000000000000" pitchFamily="2" charset="2"/>
        <a:buNone/>
        <a:defRPr sz="2000" kern="1200">
          <a:solidFill>
            <a:schemeClr val="tx2"/>
          </a:solidFill>
          <a:latin typeface="+mn-lt"/>
          <a:ea typeface="+mn-ea"/>
          <a:cs typeface="+mn-cs"/>
        </a:defRPr>
      </a:lvl2pPr>
      <a:lvl3pPr marL="180975" indent="-180975" algn="l" defTabSz="914400" rtl="0" eaLnBrk="1" latinLnBrk="0" hangingPunct="1">
        <a:lnSpc>
          <a:spcPct val="90000"/>
        </a:lnSpc>
        <a:spcBef>
          <a:spcPts val="0"/>
        </a:spcBef>
        <a:buClr>
          <a:schemeClr val="accent1"/>
        </a:buClr>
        <a:buSzPct val="110000"/>
        <a:buFont typeface="Arial" panose="020B0604020202020204" pitchFamily="34" charset="0"/>
        <a:buChar char="•"/>
        <a:defRPr sz="2000" kern="1200">
          <a:solidFill>
            <a:schemeClr val="tx2"/>
          </a:solidFill>
          <a:latin typeface="+mn-lt"/>
          <a:ea typeface="+mn-ea"/>
          <a:cs typeface="+mn-cs"/>
        </a:defRPr>
      </a:lvl3pPr>
      <a:lvl4pPr marL="538163" indent="-180975" algn="l" defTabSz="914400" rtl="0" eaLnBrk="1" latinLnBrk="0" hangingPunct="1">
        <a:lnSpc>
          <a:spcPct val="90000"/>
        </a:lnSpc>
        <a:spcBef>
          <a:spcPts val="500"/>
        </a:spcBef>
        <a:buClr>
          <a:schemeClr val="tx1"/>
        </a:buClr>
        <a:buSzPct val="110000"/>
        <a:buFont typeface="Arial" panose="020B0604020202020204" pitchFamily="34" charset="0"/>
        <a:buChar char="•"/>
        <a:defRPr sz="1800" kern="1200">
          <a:solidFill>
            <a:schemeClr val="tx2"/>
          </a:solidFill>
          <a:latin typeface="+mn-lt"/>
          <a:ea typeface="+mn-ea"/>
          <a:cs typeface="+mn-cs"/>
        </a:defRPr>
      </a:lvl4pPr>
      <a:lvl5pPr marL="895350" indent="-266700" algn="l" defTabSz="914400" rtl="0" eaLnBrk="1" latinLnBrk="0" hangingPunct="1">
        <a:lnSpc>
          <a:spcPct val="90000"/>
        </a:lnSpc>
        <a:spcBef>
          <a:spcPts val="500"/>
        </a:spcBef>
        <a:buClr>
          <a:schemeClr val="accent2"/>
        </a:buClr>
        <a:buSzPct val="110000"/>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userDrawn="1">
          <p15:clr>
            <a:srgbClr val="F26B43"/>
          </p15:clr>
        </p15:guide>
        <p15:guide id="2" orient="horz" pos="2160" userDrawn="1">
          <p15:clr>
            <a:srgbClr val="F26B43"/>
          </p15:clr>
        </p15:guide>
        <p15:guide id="3" orient="horz" pos="857" userDrawn="1">
          <p15:clr>
            <a:srgbClr val="F26B43"/>
          </p15:clr>
        </p15:guide>
        <p15:guide id="4" pos="3840" userDrawn="1">
          <p15:clr>
            <a:srgbClr val="F26B43"/>
          </p15:clr>
        </p15:guide>
        <p15:guide id="5" pos="7287" userDrawn="1">
          <p15:clr>
            <a:srgbClr val="F26B43"/>
          </p15:clr>
        </p15:guide>
        <p15:guide id="6" pos="3885" userDrawn="1">
          <p15:clr>
            <a:srgbClr val="F26B43"/>
          </p15:clr>
        </p15:guide>
        <p15:guide id="7" pos="3795" userDrawn="1">
          <p15:clr>
            <a:srgbClr val="F26B43"/>
          </p15:clr>
        </p15:guide>
        <p15:guide id="8" orient="horz" pos="3748" userDrawn="1">
          <p15:clr>
            <a:srgbClr val="F26B43"/>
          </p15:clr>
        </p15:guide>
        <p15:guide id="9" orient="horz" pos="799" userDrawn="1">
          <p15:clr>
            <a:srgbClr val="F26B43"/>
          </p15:clr>
        </p15:guide>
        <p15:guide id="10" orient="horz" pos="1193" userDrawn="1">
          <p15:clr>
            <a:srgbClr val="F26B43"/>
          </p15:clr>
        </p15:guide>
        <p15:guide id="11" orient="horz" pos="1215" userDrawn="1">
          <p15:clr>
            <a:srgbClr val="F26B43"/>
          </p15:clr>
        </p15:guide>
        <p15:guide id="12" orient="horz" pos="3816" userDrawn="1">
          <p15:clr>
            <a:srgbClr val="F26B43"/>
          </p15:clr>
        </p15:guide>
        <p15:guide id="13" orient="horz" pos="545" userDrawn="1">
          <p15:clr>
            <a:srgbClr val="F26B43"/>
          </p15:clr>
        </p15:guide>
        <p15:guide id="14" orient="horz" pos="349" userDrawn="1">
          <p15:clr>
            <a:srgbClr val="F26B43"/>
          </p15:clr>
        </p15:guide>
        <p15:guide id="15" orient="horz" pos="1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5.emf"/></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6.emf"/></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7.emf"/></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9.emf"/></Relationships>
</file>

<file path=ppt/slides/_rels/slide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descr="Afbeelding met persoon, vrouw, binnen, staand&#10;&#10;Automatisch gegenereerde beschrijving">
            <a:extLst>
              <a:ext uri="{FF2B5EF4-FFF2-40B4-BE49-F238E27FC236}">
                <a16:creationId xmlns:a16="http://schemas.microsoft.com/office/drawing/2014/main" id="{0E62BEE3-7282-42D5-8F48-24016E3F1B4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t="38571" r="9033" b="17034"/>
          <a:stretch/>
        </p:blipFill>
        <p:spPr>
          <a:xfrm>
            <a:off x="0" y="2889250"/>
            <a:ext cx="12192000" cy="3968750"/>
          </a:xfrm>
        </p:spPr>
      </p:pic>
      <p:sp>
        <p:nvSpPr>
          <p:cNvPr id="4" name="Titel 3">
            <a:extLst>
              <a:ext uri="{FF2B5EF4-FFF2-40B4-BE49-F238E27FC236}">
                <a16:creationId xmlns:a16="http://schemas.microsoft.com/office/drawing/2014/main" id="{FDD68B4C-CFE0-4A8C-9233-9898030851C0}"/>
              </a:ext>
            </a:extLst>
          </p:cNvPr>
          <p:cNvSpPr>
            <a:spLocks noGrp="1"/>
          </p:cNvSpPr>
          <p:nvPr>
            <p:ph type="ctrTitle"/>
          </p:nvPr>
        </p:nvSpPr>
        <p:spPr/>
        <p:txBody>
          <a:bodyPr/>
          <a:lstStyle/>
          <a:p>
            <a:r>
              <a:rPr lang="nl-NL"/>
              <a:t>Informatiebijeenkomst COA 	Utrecht 11/1/2024</a:t>
            </a:r>
            <a:endParaRPr lang="nl-NL" dirty="0"/>
          </a:p>
        </p:txBody>
      </p:sp>
      <p:sp>
        <p:nvSpPr>
          <p:cNvPr id="5" name="Ondertitel 4">
            <a:extLst>
              <a:ext uri="{FF2B5EF4-FFF2-40B4-BE49-F238E27FC236}">
                <a16:creationId xmlns:a16="http://schemas.microsoft.com/office/drawing/2014/main" id="{EF9B47B1-A5AF-4946-AA9B-6E678D239A98}"/>
              </a:ext>
            </a:extLst>
          </p:cNvPr>
          <p:cNvSpPr>
            <a:spLocks noGrp="1"/>
          </p:cNvSpPr>
          <p:nvPr>
            <p:ph type="subTitle" idx="1"/>
          </p:nvPr>
        </p:nvSpPr>
        <p:spPr/>
        <p:txBody>
          <a:bodyPr/>
          <a:lstStyle/>
          <a:p>
            <a:endParaRPr lang="nl-NL" dirty="0"/>
          </a:p>
        </p:txBody>
      </p:sp>
    </p:spTree>
    <p:extLst>
      <p:ext uri="{BB962C8B-B14F-4D97-AF65-F5344CB8AC3E}">
        <p14:creationId xmlns:p14="http://schemas.microsoft.com/office/powerpoint/2010/main" val="8969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Organogram Coa</a:t>
            </a:r>
            <a:endParaRPr lang="nl-NL" b="1" dirty="0">
              <a:solidFill>
                <a:schemeClr val="accent1">
                  <a:lumMod val="50000"/>
                </a:schemeClr>
              </a:solidFill>
            </a:endParaRPr>
          </a:p>
        </p:txBody>
      </p:sp>
      <p:pic>
        <p:nvPicPr>
          <p:cNvPr id="3" name="Afbeelding 2"/>
          <p:cNvPicPr>
            <a:picLocks noChangeAspect="1"/>
          </p:cNvPicPr>
          <p:nvPr/>
        </p:nvPicPr>
        <p:blipFill>
          <a:blip r:embed="rId2"/>
          <a:stretch>
            <a:fillRect/>
          </a:stretch>
        </p:blipFill>
        <p:spPr>
          <a:xfrm>
            <a:off x="0" y="1183184"/>
            <a:ext cx="12192000" cy="4491631"/>
          </a:xfrm>
          <a:prstGeom prst="rect">
            <a:avLst/>
          </a:prstGeom>
        </p:spPr>
      </p:pic>
    </p:spTree>
    <p:extLst>
      <p:ext uri="{BB962C8B-B14F-4D97-AF65-F5344CB8AC3E}">
        <p14:creationId xmlns:p14="http://schemas.microsoft.com/office/powerpoint/2010/main" val="2022437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Organogram Coa Directies</a:t>
            </a:r>
            <a:endParaRPr lang="nl-NL" b="1" dirty="0">
              <a:solidFill>
                <a:schemeClr val="accent1">
                  <a:lumMod val="50000"/>
                </a:schemeClr>
              </a:solidFill>
            </a:endParaRPr>
          </a:p>
        </p:txBody>
      </p:sp>
      <p:pic>
        <p:nvPicPr>
          <p:cNvPr id="4" name="Afbeelding 3"/>
          <p:cNvPicPr>
            <a:picLocks noChangeAspect="1"/>
          </p:cNvPicPr>
          <p:nvPr/>
        </p:nvPicPr>
        <p:blipFill>
          <a:blip r:embed="rId2"/>
          <a:stretch>
            <a:fillRect/>
          </a:stretch>
        </p:blipFill>
        <p:spPr>
          <a:xfrm>
            <a:off x="99753" y="1466377"/>
            <a:ext cx="5994440" cy="2207853"/>
          </a:xfrm>
          <a:prstGeom prst="rect">
            <a:avLst/>
          </a:prstGeom>
          <a:ln w="9525">
            <a:solidFill>
              <a:schemeClr val="tx1"/>
            </a:solidFill>
          </a:ln>
          <a:effectLst>
            <a:outerShdw blurRad="292100" dist="139700" dir="2700000" algn="tl" rotWithShape="0">
              <a:srgbClr val="333333">
                <a:alpha val="65000"/>
              </a:srgbClr>
            </a:outerShdw>
          </a:effectLst>
        </p:spPr>
      </p:pic>
      <p:pic>
        <p:nvPicPr>
          <p:cNvPr id="5" name="Afbeelding 4"/>
          <p:cNvPicPr>
            <a:picLocks noChangeAspect="1"/>
          </p:cNvPicPr>
          <p:nvPr/>
        </p:nvPicPr>
        <p:blipFill>
          <a:blip r:embed="rId3"/>
          <a:stretch>
            <a:fillRect/>
          </a:stretch>
        </p:blipFill>
        <p:spPr>
          <a:xfrm>
            <a:off x="6047937" y="1466378"/>
            <a:ext cx="5994433" cy="2207851"/>
          </a:xfrm>
          <a:prstGeom prst="rect">
            <a:avLst/>
          </a:prstGeom>
          <a:ln>
            <a:noFill/>
          </a:ln>
          <a:effectLst>
            <a:outerShdw blurRad="292100" dist="139700" dir="2700000" algn="tl" rotWithShape="0">
              <a:srgbClr val="333333">
                <a:alpha val="65000"/>
              </a:srgbClr>
            </a:outerShdw>
          </a:effectLst>
        </p:spPr>
      </p:pic>
      <p:pic>
        <p:nvPicPr>
          <p:cNvPr id="2050" name="Picture 2" descr="https://plein-intranet.coa.local/opvang/vastgoed/PublishingImages/Organogram_08_OenB_zonder_namen_2020-10_RG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6798" y="3794047"/>
            <a:ext cx="7822277" cy="288107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19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Capaciteitsbehoefte 2023</a:t>
            </a:r>
            <a:endParaRPr lang="nl-NL" b="1" dirty="0">
              <a:solidFill>
                <a:schemeClr val="accent1">
                  <a:lumMod val="50000"/>
                </a:schemeClr>
              </a:solidFill>
            </a:endParaRPr>
          </a:p>
        </p:txBody>
      </p:sp>
      <p:pic>
        <p:nvPicPr>
          <p:cNvPr id="3" name="Afbeelding 2"/>
          <p:cNvPicPr>
            <a:picLocks noChangeAspect="1"/>
          </p:cNvPicPr>
          <p:nvPr/>
        </p:nvPicPr>
        <p:blipFill>
          <a:blip r:embed="rId3"/>
          <a:stretch>
            <a:fillRect/>
          </a:stretch>
        </p:blipFill>
        <p:spPr>
          <a:xfrm>
            <a:off x="100012" y="1831657"/>
            <a:ext cx="11991975" cy="4657725"/>
          </a:xfrm>
          <a:prstGeom prst="rect">
            <a:avLst/>
          </a:prstGeom>
          <a:ln w="6350">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469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Wervingsopdracht capaciteit</a:t>
            </a:r>
            <a:endParaRPr lang="nl-NL" b="1" dirty="0">
              <a:solidFill>
                <a:schemeClr val="accent1">
                  <a:lumMod val="50000"/>
                </a:schemeClr>
              </a:solidFill>
            </a:endParaRPr>
          </a:p>
        </p:txBody>
      </p:sp>
      <p:pic>
        <p:nvPicPr>
          <p:cNvPr id="4" name="Afbeelding 3"/>
          <p:cNvPicPr>
            <a:picLocks noChangeAspect="1"/>
          </p:cNvPicPr>
          <p:nvPr/>
        </p:nvPicPr>
        <p:blipFill>
          <a:blip r:embed="rId3"/>
          <a:stretch>
            <a:fillRect/>
          </a:stretch>
        </p:blipFill>
        <p:spPr>
          <a:xfrm>
            <a:off x="1943706" y="1270202"/>
            <a:ext cx="8139394" cy="5587798"/>
          </a:xfrm>
          <a:prstGeom prst="rect">
            <a:avLst/>
          </a:prstGeom>
          <a:ln w="6350">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8102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334298" y="428368"/>
            <a:ext cx="5487000" cy="276999"/>
          </a:xfrm>
          <a:prstGeom prst="rect">
            <a:avLst/>
          </a:prstGeom>
          <a:noFill/>
        </p:spPr>
        <p:txBody>
          <a:bodyPr wrap="square" lIns="0" tIns="0" rIns="0" bIns="0" rtlCol="0">
            <a:spAutoFit/>
          </a:bodyPr>
          <a:lstStyle/>
          <a:p>
            <a:pPr algn="r"/>
            <a:r>
              <a:rPr lang="nl-NL" b="1">
                <a:solidFill>
                  <a:schemeClr val="accent1">
                    <a:lumMod val="50000"/>
                  </a:schemeClr>
                </a:solidFill>
              </a:rPr>
              <a:t>Ontwikkeling aantal bewoners en locaties per jaar</a:t>
            </a:r>
            <a:endParaRPr lang="nl-NL" b="1" dirty="0">
              <a:solidFill>
                <a:schemeClr val="accent1">
                  <a:lumMod val="50000"/>
                </a:schemeClr>
              </a:solidFill>
            </a:endParaRPr>
          </a:p>
        </p:txBody>
      </p:sp>
      <p:pic>
        <p:nvPicPr>
          <p:cNvPr id="10" name="Afbeelding 9"/>
          <p:cNvPicPr>
            <a:picLocks noChangeAspect="1"/>
          </p:cNvPicPr>
          <p:nvPr/>
        </p:nvPicPr>
        <p:blipFill>
          <a:blip r:embed="rId3"/>
          <a:stretch>
            <a:fillRect/>
          </a:stretch>
        </p:blipFill>
        <p:spPr>
          <a:xfrm>
            <a:off x="102075" y="2360381"/>
            <a:ext cx="5575516" cy="3441903"/>
          </a:xfrm>
          <a:prstGeom prst="rect">
            <a:avLst/>
          </a:prstGeom>
          <a:ln w="9525">
            <a:solidFill>
              <a:schemeClr val="tx1"/>
            </a:solidFill>
          </a:ln>
          <a:effectLst>
            <a:outerShdw blurRad="292100" dist="139700" dir="2700000" algn="tl" rotWithShape="0">
              <a:srgbClr val="333333">
                <a:alpha val="65000"/>
              </a:srgbClr>
            </a:outerShdw>
          </a:effectLst>
        </p:spPr>
      </p:pic>
      <p:sp>
        <p:nvSpPr>
          <p:cNvPr id="11" name="Tekstvak 10"/>
          <p:cNvSpPr txBox="1"/>
          <p:nvPr/>
        </p:nvSpPr>
        <p:spPr>
          <a:xfrm>
            <a:off x="4239490" y="2560319"/>
            <a:ext cx="1379913" cy="215444"/>
          </a:xfrm>
          <a:prstGeom prst="rect">
            <a:avLst/>
          </a:prstGeom>
          <a:noFill/>
        </p:spPr>
        <p:txBody>
          <a:bodyPr wrap="square" lIns="0" tIns="0" rIns="0" bIns="0" rtlCol="0">
            <a:spAutoFit/>
          </a:bodyPr>
          <a:lstStyle/>
          <a:p>
            <a:pPr algn="l"/>
            <a:r>
              <a:rPr lang="nl-NL" sz="1400"/>
              <a:t>Aantal bewoners</a:t>
            </a:r>
            <a:endParaRPr lang="nl-NL" sz="1400" dirty="0"/>
          </a:p>
        </p:txBody>
      </p:sp>
      <p:pic>
        <p:nvPicPr>
          <p:cNvPr id="12" name="Afbeelding 11"/>
          <p:cNvPicPr>
            <a:picLocks noChangeAspect="1"/>
          </p:cNvPicPr>
          <p:nvPr/>
        </p:nvPicPr>
        <p:blipFill>
          <a:blip r:embed="rId4"/>
          <a:stretch>
            <a:fillRect/>
          </a:stretch>
        </p:blipFill>
        <p:spPr>
          <a:xfrm>
            <a:off x="5925331" y="2360381"/>
            <a:ext cx="6121963" cy="3441903"/>
          </a:xfrm>
          <a:prstGeom prst="rect">
            <a:avLst/>
          </a:prstGeom>
          <a:ln w="9525">
            <a:solidFill>
              <a:schemeClr val="tx1"/>
            </a:solidFill>
          </a:ln>
          <a:effectLst>
            <a:outerShdw blurRad="292100" dist="139700" dir="2700000" algn="tl" rotWithShape="0">
              <a:srgbClr val="333333">
                <a:alpha val="65000"/>
              </a:srgbClr>
            </a:outerShdw>
          </a:effectLst>
        </p:spPr>
      </p:pic>
      <p:sp>
        <p:nvSpPr>
          <p:cNvPr id="13" name="Tekstvak 12"/>
          <p:cNvSpPr txBox="1"/>
          <p:nvPr/>
        </p:nvSpPr>
        <p:spPr>
          <a:xfrm>
            <a:off x="10485120" y="2560319"/>
            <a:ext cx="1260764" cy="215444"/>
          </a:xfrm>
          <a:prstGeom prst="rect">
            <a:avLst/>
          </a:prstGeom>
          <a:noFill/>
        </p:spPr>
        <p:txBody>
          <a:bodyPr wrap="square" lIns="0" tIns="0" rIns="0" bIns="0" rtlCol="0">
            <a:spAutoFit/>
          </a:bodyPr>
          <a:lstStyle/>
          <a:p>
            <a:pPr algn="l"/>
            <a:r>
              <a:rPr lang="nl-NL" sz="1400"/>
              <a:t>Aantal locaties</a:t>
            </a:r>
            <a:endParaRPr lang="nl-NL" sz="1400" dirty="0"/>
          </a:p>
        </p:txBody>
      </p:sp>
    </p:spTree>
    <p:extLst>
      <p:ext uri="{BB962C8B-B14F-4D97-AF65-F5344CB8AC3E}">
        <p14:creationId xmlns:p14="http://schemas.microsoft.com/office/powerpoint/2010/main" val="3087228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Huidige situatie, locaties</a:t>
            </a:r>
            <a:endParaRPr lang="nl-NL" b="1" dirty="0">
              <a:solidFill>
                <a:schemeClr val="accent1">
                  <a:lumMod val="50000"/>
                </a:schemeClr>
              </a:solidFill>
            </a:endParaRPr>
          </a:p>
        </p:txBody>
      </p:sp>
      <p:pic>
        <p:nvPicPr>
          <p:cNvPr id="7" name="Afbeelding 6"/>
          <p:cNvPicPr>
            <a:picLocks noChangeAspect="1"/>
          </p:cNvPicPr>
          <p:nvPr/>
        </p:nvPicPr>
        <p:blipFill>
          <a:blip r:embed="rId3"/>
          <a:stretch>
            <a:fillRect/>
          </a:stretch>
        </p:blipFill>
        <p:spPr>
          <a:xfrm>
            <a:off x="149630" y="2136891"/>
            <a:ext cx="6766560" cy="3334579"/>
          </a:xfrm>
          <a:prstGeom prst="rect">
            <a:avLst/>
          </a:prstGeom>
          <a:ln w="9525">
            <a:solidFill>
              <a:schemeClr val="tx1"/>
            </a:solidFill>
          </a:ln>
          <a:effectLst>
            <a:outerShdw blurRad="292100" dist="139700" dir="2700000" algn="tl" rotWithShape="0">
              <a:srgbClr val="333333">
                <a:alpha val="65000"/>
              </a:srgbClr>
            </a:outerShdw>
          </a:effectLst>
        </p:spPr>
      </p:pic>
      <p:pic>
        <p:nvPicPr>
          <p:cNvPr id="8" name="Afbeelding 7"/>
          <p:cNvPicPr>
            <a:picLocks noChangeAspect="1"/>
          </p:cNvPicPr>
          <p:nvPr/>
        </p:nvPicPr>
        <p:blipFill>
          <a:blip r:embed="rId4"/>
          <a:stretch>
            <a:fillRect/>
          </a:stretch>
        </p:blipFill>
        <p:spPr>
          <a:xfrm>
            <a:off x="7283334" y="1529369"/>
            <a:ext cx="4612178" cy="5142578"/>
          </a:xfrm>
          <a:prstGeom prst="rect">
            <a:avLst/>
          </a:prstGeom>
          <a:ln w="952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55861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3" name="Tijdelijke aanduiding voor tekst 2"/>
          <p:cNvSpPr>
            <a:spLocks noGrp="1"/>
          </p:cNvSpPr>
          <p:nvPr>
            <p:ph type="body" idx="1"/>
          </p:nvPr>
        </p:nvSpPr>
        <p:spPr>
          <a:xfrm>
            <a:off x="226342" y="4724242"/>
            <a:ext cx="10944224" cy="318436"/>
          </a:xfrm>
        </p:spPr>
        <p:txBody>
          <a:bodyPr/>
          <a:lstStyle/>
          <a:p>
            <a:endParaRPr lang="nl-NL"/>
          </a:p>
        </p:txBody>
      </p:sp>
      <p:sp>
        <p:nvSpPr>
          <p:cNvPr id="4" name="Tekstvak 3"/>
          <p:cNvSpPr txBox="1"/>
          <p:nvPr/>
        </p:nvSpPr>
        <p:spPr>
          <a:xfrm>
            <a:off x="6334298" y="428368"/>
            <a:ext cx="5487000" cy="553998"/>
          </a:xfrm>
          <a:prstGeom prst="rect">
            <a:avLst/>
          </a:prstGeom>
          <a:noFill/>
        </p:spPr>
        <p:txBody>
          <a:bodyPr wrap="square" lIns="0" tIns="0" rIns="0" bIns="0" rtlCol="0">
            <a:spAutoFit/>
          </a:bodyPr>
          <a:lstStyle/>
          <a:p>
            <a:pPr algn="r"/>
            <a:r>
              <a:rPr lang="nl-NL" b="1">
                <a:solidFill>
                  <a:schemeClr val="accent1">
                    <a:lumMod val="50000"/>
                  </a:schemeClr>
                </a:solidFill>
              </a:rPr>
              <a:t>Ontwikkeling aantal medewerkers</a:t>
            </a:r>
            <a:br>
              <a:rPr lang="nl-NL" b="1">
                <a:solidFill>
                  <a:schemeClr val="accent1">
                    <a:lumMod val="50000"/>
                  </a:schemeClr>
                </a:solidFill>
              </a:rPr>
            </a:br>
            <a:r>
              <a:rPr lang="nl-NL" b="1">
                <a:solidFill>
                  <a:schemeClr val="accent1">
                    <a:lumMod val="50000"/>
                  </a:schemeClr>
                </a:solidFill>
              </a:rPr>
              <a:t>-telkens op 1 januari</a:t>
            </a:r>
            <a:endParaRPr lang="nl-NL" b="1" dirty="0">
              <a:solidFill>
                <a:schemeClr val="accent1">
                  <a:lumMod val="50000"/>
                </a:schemeClr>
              </a:solidFill>
            </a:endParaRPr>
          </a:p>
        </p:txBody>
      </p:sp>
      <p:pic>
        <p:nvPicPr>
          <p:cNvPr id="6" name="Afbeelding 5"/>
          <p:cNvPicPr>
            <a:picLocks noChangeAspect="1"/>
          </p:cNvPicPr>
          <p:nvPr/>
        </p:nvPicPr>
        <p:blipFill>
          <a:blip r:embed="rId2"/>
          <a:stretch>
            <a:fillRect/>
          </a:stretch>
        </p:blipFill>
        <p:spPr>
          <a:xfrm>
            <a:off x="7449831" y="3910057"/>
            <a:ext cx="4602269" cy="2802164"/>
          </a:xfrm>
          <a:prstGeom prst="rect">
            <a:avLst/>
          </a:prstGeom>
        </p:spPr>
      </p:pic>
      <p:pic>
        <p:nvPicPr>
          <p:cNvPr id="8" name="Afbeelding 7"/>
          <p:cNvPicPr>
            <a:picLocks noChangeAspect="1"/>
          </p:cNvPicPr>
          <p:nvPr/>
        </p:nvPicPr>
        <p:blipFill>
          <a:blip r:embed="rId3"/>
          <a:stretch>
            <a:fillRect/>
          </a:stretch>
        </p:blipFill>
        <p:spPr>
          <a:xfrm>
            <a:off x="7449831" y="1191475"/>
            <a:ext cx="4596774" cy="2798818"/>
          </a:xfrm>
          <a:prstGeom prst="rect">
            <a:avLst/>
          </a:prstGeom>
        </p:spPr>
      </p:pic>
      <p:pic>
        <p:nvPicPr>
          <p:cNvPr id="9" name="Afbeelding 8">
            <a:extLst>
              <a:ext uri="{FF2B5EF4-FFF2-40B4-BE49-F238E27FC236}">
                <a16:creationId xmlns:a16="http://schemas.microsoft.com/office/drawing/2014/main" id="{45A1B8BA-89A0-CC3D-DC45-4E5C62656353}"/>
              </a:ext>
            </a:extLst>
          </p:cNvPr>
          <p:cNvPicPr>
            <a:picLocks noChangeAspect="1"/>
          </p:cNvPicPr>
          <p:nvPr/>
        </p:nvPicPr>
        <p:blipFill>
          <a:blip r:embed="rId4"/>
          <a:stretch>
            <a:fillRect/>
          </a:stretch>
        </p:blipFill>
        <p:spPr>
          <a:xfrm>
            <a:off x="139900" y="1448553"/>
            <a:ext cx="7108411" cy="4508627"/>
          </a:xfrm>
          <a:prstGeom prst="rect">
            <a:avLst/>
          </a:prstGeom>
        </p:spPr>
      </p:pic>
    </p:spTree>
    <p:extLst>
      <p:ext uri="{BB962C8B-B14F-4D97-AF65-F5344CB8AC3E}">
        <p14:creationId xmlns:p14="http://schemas.microsoft.com/office/powerpoint/2010/main" val="1798452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3" name="Tijdelijke aanduiding voor tekst 2"/>
          <p:cNvSpPr>
            <a:spLocks noGrp="1"/>
          </p:cNvSpPr>
          <p:nvPr>
            <p:ph type="body" idx="1"/>
          </p:nvPr>
        </p:nvSpPr>
        <p:spPr/>
        <p:txBody>
          <a:bodyPr/>
          <a:lstStyle/>
          <a:p>
            <a:endParaRPr lang="nl-NL"/>
          </a:p>
        </p:txBody>
      </p:sp>
      <p:sp>
        <p:nvSpPr>
          <p:cNvPr id="4" name="Tekstvak 3"/>
          <p:cNvSpPr txBox="1"/>
          <p:nvPr/>
        </p:nvSpPr>
        <p:spPr>
          <a:xfrm>
            <a:off x="4544840" y="479531"/>
            <a:ext cx="6153828" cy="276999"/>
          </a:xfrm>
          <a:prstGeom prst="rect">
            <a:avLst/>
          </a:prstGeom>
          <a:noFill/>
        </p:spPr>
        <p:txBody>
          <a:bodyPr wrap="square" lIns="0" tIns="0" rIns="0" bIns="0" rtlCol="0">
            <a:spAutoFit/>
          </a:bodyPr>
          <a:lstStyle/>
          <a:p>
            <a:pPr algn="r"/>
            <a:r>
              <a:rPr lang="nl-NL" b="1">
                <a:solidFill>
                  <a:schemeClr val="accent1">
                    <a:lumMod val="50000"/>
                  </a:schemeClr>
                </a:solidFill>
              </a:rPr>
              <a:t>Meest voorkomende afdelingen externen - 1 januari 2024</a:t>
            </a:r>
            <a:endParaRPr lang="nl-NL" b="1" dirty="0">
              <a:solidFill>
                <a:schemeClr val="accent1">
                  <a:lumMod val="50000"/>
                </a:schemeClr>
              </a:solidFill>
            </a:endParaRPr>
          </a:p>
        </p:txBody>
      </p:sp>
      <p:pic>
        <p:nvPicPr>
          <p:cNvPr id="6" name="Afbeelding 5">
            <a:extLst>
              <a:ext uri="{FF2B5EF4-FFF2-40B4-BE49-F238E27FC236}">
                <a16:creationId xmlns:a16="http://schemas.microsoft.com/office/drawing/2014/main" id="{566FD42E-9635-FAC9-58EA-35288C019B58}"/>
              </a:ext>
            </a:extLst>
          </p:cNvPr>
          <p:cNvPicPr>
            <a:picLocks noChangeAspect="1"/>
          </p:cNvPicPr>
          <p:nvPr/>
        </p:nvPicPr>
        <p:blipFill>
          <a:blip r:embed="rId2"/>
          <a:stretch>
            <a:fillRect/>
          </a:stretch>
        </p:blipFill>
        <p:spPr>
          <a:xfrm>
            <a:off x="0" y="955705"/>
            <a:ext cx="12192000" cy="5145765"/>
          </a:xfrm>
          <a:prstGeom prst="rect">
            <a:avLst/>
          </a:prstGeom>
        </p:spPr>
      </p:pic>
    </p:spTree>
    <p:extLst>
      <p:ext uri="{BB962C8B-B14F-4D97-AF65-F5344CB8AC3E}">
        <p14:creationId xmlns:p14="http://schemas.microsoft.com/office/powerpoint/2010/main" val="1309791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afgeronde hoeken 1">
            <a:extLst>
              <a:ext uri="{FF2B5EF4-FFF2-40B4-BE49-F238E27FC236}">
                <a16:creationId xmlns:a16="http://schemas.microsoft.com/office/drawing/2014/main" id="{C992B39E-5655-E1C6-8398-B5D4B3EC0AC3}"/>
              </a:ext>
            </a:extLst>
          </p:cNvPr>
          <p:cNvSpPr/>
          <p:nvPr/>
        </p:nvSpPr>
        <p:spPr>
          <a:xfrm>
            <a:off x="3566738" y="247087"/>
            <a:ext cx="6180859" cy="725315"/>
          </a:xfrm>
          <a:prstGeom prst="roundRect">
            <a:avLst>
              <a:gd name="adj" fmla="val 50000"/>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tel 8">
            <a:extLst>
              <a:ext uri="{FF2B5EF4-FFF2-40B4-BE49-F238E27FC236}">
                <a16:creationId xmlns:a16="http://schemas.microsoft.com/office/drawing/2014/main" id="{803917E9-20A2-4AE6-932E-22CDE101CF61}"/>
              </a:ext>
            </a:extLst>
          </p:cNvPr>
          <p:cNvSpPr>
            <a:spLocks noGrp="1"/>
          </p:cNvSpPr>
          <p:nvPr>
            <p:ph type="title"/>
          </p:nvPr>
        </p:nvSpPr>
        <p:spPr>
          <a:xfrm>
            <a:off x="4595850" y="277453"/>
            <a:ext cx="4276546" cy="694950"/>
          </a:xfrm>
        </p:spPr>
        <p:txBody>
          <a:bodyPr/>
          <a:lstStyle/>
          <a:p>
            <a:r>
              <a:rPr lang="nl-NL" sz="2800" b="0">
                <a:solidFill>
                  <a:schemeClr val="bg1"/>
                </a:solidFill>
                <a:latin typeface="Calibri" panose="020F0502020204030204" pitchFamily="34" charset="0"/>
                <a:cs typeface="Calibri" panose="020F0502020204030204" pitchFamily="34" charset="0"/>
              </a:rPr>
              <a:t>Voorbeeld:</a:t>
            </a:r>
            <a:br>
              <a:rPr lang="nl-NL" sz="2800" b="0">
                <a:solidFill>
                  <a:schemeClr val="bg1"/>
                </a:solidFill>
                <a:latin typeface="Calibri" panose="020F0502020204030204" pitchFamily="34" charset="0"/>
                <a:cs typeface="Calibri" panose="020F0502020204030204" pitchFamily="34" charset="0"/>
              </a:rPr>
            </a:br>
            <a:r>
              <a:rPr lang="nl-NL" sz="2800" b="0">
                <a:solidFill>
                  <a:schemeClr val="bg1"/>
                </a:solidFill>
                <a:latin typeface="Calibri" panose="020F0502020204030204" pitchFamily="34" charset="0"/>
                <a:cs typeface="Calibri" panose="020F0502020204030204" pitchFamily="34" charset="0"/>
              </a:rPr>
              <a:t>In-/uitstroom tertaal 3  2023 </a:t>
            </a:r>
          </a:p>
        </p:txBody>
      </p:sp>
      <p:sp>
        <p:nvSpPr>
          <p:cNvPr id="6" name="Titel 8">
            <a:extLst>
              <a:ext uri="{FF2B5EF4-FFF2-40B4-BE49-F238E27FC236}">
                <a16:creationId xmlns:a16="http://schemas.microsoft.com/office/drawing/2014/main" id="{3FBA1B1F-46FC-0C21-E1CC-57ED0367A69F}"/>
              </a:ext>
            </a:extLst>
          </p:cNvPr>
          <p:cNvSpPr txBox="1">
            <a:spLocks/>
          </p:cNvSpPr>
          <p:nvPr/>
        </p:nvSpPr>
        <p:spPr>
          <a:xfrm>
            <a:off x="5714511" y="908699"/>
            <a:ext cx="762978" cy="30366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400" b="1" kern="1200" baseline="0">
                <a:solidFill>
                  <a:schemeClr val="accent1"/>
                </a:solidFill>
                <a:latin typeface="+mj-lt"/>
                <a:ea typeface="+mj-ea"/>
                <a:cs typeface="+mj-cs"/>
              </a:defRPr>
            </a:lvl1pPr>
          </a:lstStyle>
          <a:p>
            <a:endParaRPr lang="nl-NL" sz="2200" b="0" dirty="0">
              <a:solidFill>
                <a:schemeClr val="bg1"/>
              </a:solidFill>
              <a:latin typeface="Calibri" panose="020F0502020204030204" pitchFamily="34" charset="0"/>
              <a:cs typeface="Calibri" panose="020F0502020204030204" pitchFamily="34" charset="0"/>
            </a:endParaRPr>
          </a:p>
        </p:txBody>
      </p:sp>
      <p:graphicFrame>
        <p:nvGraphicFramePr>
          <p:cNvPr id="12" name="Tabel 15">
            <a:extLst>
              <a:ext uri="{FF2B5EF4-FFF2-40B4-BE49-F238E27FC236}">
                <a16:creationId xmlns:a16="http://schemas.microsoft.com/office/drawing/2014/main" id="{107D7353-07E7-8A47-DE65-D67F713270B3}"/>
              </a:ext>
            </a:extLst>
          </p:cNvPr>
          <p:cNvGraphicFramePr>
            <a:graphicFrameLocks noGrp="1"/>
          </p:cNvGraphicFramePr>
          <p:nvPr>
            <p:extLst>
              <p:ext uri="{D42A27DB-BD31-4B8C-83A1-F6EECF244321}">
                <p14:modId xmlns:p14="http://schemas.microsoft.com/office/powerpoint/2010/main" val="130705815"/>
              </p:ext>
            </p:extLst>
          </p:nvPr>
        </p:nvGraphicFramePr>
        <p:xfrm>
          <a:off x="368331" y="1659368"/>
          <a:ext cx="4089369" cy="1112407"/>
        </p:xfrm>
        <a:graphic>
          <a:graphicData uri="http://schemas.openxmlformats.org/drawingml/2006/table">
            <a:tbl>
              <a:tblPr firstRow="1" bandRow="1">
                <a:tableStyleId>{5C22544A-7EE6-4342-B048-85BDC9FD1C3A}</a:tableStyleId>
              </a:tblPr>
              <a:tblGrid>
                <a:gridCol w="3250310">
                  <a:extLst>
                    <a:ext uri="{9D8B030D-6E8A-4147-A177-3AD203B41FA5}">
                      <a16:colId xmlns:a16="http://schemas.microsoft.com/office/drawing/2014/main" val="1802294992"/>
                    </a:ext>
                  </a:extLst>
                </a:gridCol>
                <a:gridCol w="839059">
                  <a:extLst>
                    <a:ext uri="{9D8B030D-6E8A-4147-A177-3AD203B41FA5}">
                      <a16:colId xmlns:a16="http://schemas.microsoft.com/office/drawing/2014/main" val="1195962678"/>
                    </a:ext>
                  </a:extLst>
                </a:gridCol>
              </a:tblGrid>
              <a:tr h="367715">
                <a:tc>
                  <a:txBody>
                    <a:bodyPr/>
                    <a:lstStyle/>
                    <a:p>
                      <a:r>
                        <a:rPr lang="nl-NL">
                          <a:latin typeface="Calibri" panose="020F0502020204030204" pitchFamily="34" charset="0"/>
                          <a:cs typeface="Calibri" panose="020F0502020204030204" pitchFamily="34" charset="0"/>
                        </a:rPr>
                        <a:t>Aantal mutaties T3 2023</a:t>
                      </a:r>
                    </a:p>
                  </a:txBody>
                  <a:tcPr/>
                </a:tc>
                <a:tc>
                  <a:txBody>
                    <a:bodyPr/>
                    <a:lstStyle/>
                    <a:p>
                      <a:r>
                        <a:rPr lang="nl-NL">
                          <a:latin typeface="Calibri" panose="020F0502020204030204" pitchFamily="34" charset="0"/>
                          <a:cs typeface="Calibri" panose="020F0502020204030204" pitchFamily="34" charset="0"/>
                        </a:rPr>
                        <a:t>T3</a:t>
                      </a:r>
                    </a:p>
                  </a:txBody>
                  <a:tcPr/>
                </a:tc>
                <a:extLst>
                  <a:ext uri="{0D108BD9-81ED-4DB2-BD59-A6C34878D82A}">
                    <a16:rowId xmlns:a16="http://schemas.microsoft.com/office/drawing/2014/main" val="4220221573"/>
                  </a:ext>
                </a:extLst>
              </a:tr>
              <a:tr h="367715">
                <a:tc>
                  <a:txBody>
                    <a:bodyPr/>
                    <a:lstStyle/>
                    <a:p>
                      <a:r>
                        <a:rPr lang="nl-NL">
                          <a:latin typeface="Calibri" panose="020F0502020204030204" pitchFamily="34" charset="0"/>
                          <a:cs typeface="Calibri" panose="020F0502020204030204" pitchFamily="34" charset="0"/>
                        </a:rPr>
                        <a:t>Indienstmutaties</a:t>
                      </a:r>
                    </a:p>
                  </a:txBody>
                  <a:tcPr/>
                </a:tc>
                <a:tc>
                  <a:txBody>
                    <a:bodyPr/>
                    <a:lstStyle/>
                    <a:p>
                      <a:r>
                        <a:rPr lang="nl-NL">
                          <a:latin typeface="Calibri" panose="020F0502020204030204" pitchFamily="34" charset="0"/>
                          <a:cs typeface="Calibri" panose="020F0502020204030204" pitchFamily="34" charset="0"/>
                        </a:rPr>
                        <a:t>1208</a:t>
                      </a:r>
                    </a:p>
                  </a:txBody>
                  <a:tcPr/>
                </a:tc>
                <a:extLst>
                  <a:ext uri="{0D108BD9-81ED-4DB2-BD59-A6C34878D82A}">
                    <a16:rowId xmlns:a16="http://schemas.microsoft.com/office/drawing/2014/main" val="4014170291"/>
                  </a:ext>
                </a:extLst>
              </a:tr>
              <a:tr h="376977">
                <a:tc>
                  <a:txBody>
                    <a:bodyPr/>
                    <a:lstStyle/>
                    <a:p>
                      <a:r>
                        <a:rPr lang="nl-NL">
                          <a:latin typeface="Calibri" panose="020F0502020204030204" pitchFamily="34" charset="0"/>
                          <a:cs typeface="Calibri" panose="020F0502020204030204" pitchFamily="34" charset="0"/>
                        </a:rPr>
                        <a:t>Uitdienstmutaties</a:t>
                      </a:r>
                    </a:p>
                  </a:txBody>
                  <a:tcPr/>
                </a:tc>
                <a:tc>
                  <a:txBody>
                    <a:bodyPr/>
                    <a:lstStyle/>
                    <a:p>
                      <a:r>
                        <a:rPr lang="nl-NL">
                          <a:latin typeface="Calibri" panose="020F0502020204030204" pitchFamily="34" charset="0"/>
                          <a:cs typeface="Calibri" panose="020F0502020204030204" pitchFamily="34" charset="0"/>
                        </a:rPr>
                        <a:t>  513</a:t>
                      </a:r>
                    </a:p>
                  </a:txBody>
                  <a:tcPr/>
                </a:tc>
                <a:extLst>
                  <a:ext uri="{0D108BD9-81ED-4DB2-BD59-A6C34878D82A}">
                    <a16:rowId xmlns:a16="http://schemas.microsoft.com/office/drawing/2014/main" val="1918241671"/>
                  </a:ext>
                </a:extLst>
              </a:tr>
            </a:tbl>
          </a:graphicData>
        </a:graphic>
      </p:graphicFrame>
      <p:graphicFrame>
        <p:nvGraphicFramePr>
          <p:cNvPr id="18" name="Tabel 18">
            <a:extLst>
              <a:ext uri="{FF2B5EF4-FFF2-40B4-BE49-F238E27FC236}">
                <a16:creationId xmlns:a16="http://schemas.microsoft.com/office/drawing/2014/main" id="{8B87A34B-D3ED-8938-5C63-3341F7F8E5AD}"/>
              </a:ext>
            </a:extLst>
          </p:cNvPr>
          <p:cNvGraphicFramePr>
            <a:graphicFrameLocks noGrp="1"/>
          </p:cNvGraphicFramePr>
          <p:nvPr>
            <p:extLst>
              <p:ext uri="{D42A27DB-BD31-4B8C-83A1-F6EECF244321}">
                <p14:modId xmlns:p14="http://schemas.microsoft.com/office/powerpoint/2010/main" val="10266668"/>
              </p:ext>
            </p:extLst>
          </p:nvPr>
        </p:nvGraphicFramePr>
        <p:xfrm>
          <a:off x="4595851" y="3656022"/>
          <a:ext cx="6953317" cy="1828800"/>
        </p:xfrm>
        <a:graphic>
          <a:graphicData uri="http://schemas.openxmlformats.org/drawingml/2006/table">
            <a:tbl>
              <a:tblPr firstRow="1" bandRow="1">
                <a:tableStyleId>{5C22544A-7EE6-4342-B048-85BDC9FD1C3A}</a:tableStyleId>
              </a:tblPr>
              <a:tblGrid>
                <a:gridCol w="5263765">
                  <a:extLst>
                    <a:ext uri="{9D8B030D-6E8A-4147-A177-3AD203B41FA5}">
                      <a16:colId xmlns:a16="http://schemas.microsoft.com/office/drawing/2014/main" val="3415505071"/>
                    </a:ext>
                  </a:extLst>
                </a:gridCol>
                <a:gridCol w="1689552">
                  <a:extLst>
                    <a:ext uri="{9D8B030D-6E8A-4147-A177-3AD203B41FA5}">
                      <a16:colId xmlns:a16="http://schemas.microsoft.com/office/drawing/2014/main" val="1712473061"/>
                    </a:ext>
                  </a:extLst>
                </a:gridCol>
              </a:tblGrid>
              <a:tr h="281226">
                <a:tc>
                  <a:txBody>
                    <a:bodyPr/>
                    <a:lstStyle/>
                    <a:p>
                      <a:r>
                        <a:rPr lang="nl-NL"/>
                        <a:t>Uitstroom naar type contract 2023 T3</a:t>
                      </a:r>
                    </a:p>
                  </a:txBody>
                  <a:tcPr/>
                </a:tc>
                <a:tc>
                  <a:txBody>
                    <a:bodyPr/>
                    <a:lstStyle/>
                    <a:p>
                      <a:r>
                        <a:rPr lang="nl-NL"/>
                        <a:t>Aantal</a:t>
                      </a:r>
                    </a:p>
                  </a:txBody>
                  <a:tcPr/>
                </a:tc>
                <a:extLst>
                  <a:ext uri="{0D108BD9-81ED-4DB2-BD59-A6C34878D82A}">
                    <a16:rowId xmlns:a16="http://schemas.microsoft.com/office/drawing/2014/main" val="2461259510"/>
                  </a:ext>
                </a:extLst>
              </a:tr>
              <a:tr h="281226">
                <a:tc>
                  <a:txBody>
                    <a:bodyPr/>
                    <a:lstStyle/>
                    <a:p>
                      <a:r>
                        <a:rPr lang="nl-NL"/>
                        <a:t>Loondienst</a:t>
                      </a:r>
                    </a:p>
                  </a:txBody>
                  <a:tcPr/>
                </a:tc>
                <a:tc>
                  <a:txBody>
                    <a:bodyPr/>
                    <a:lstStyle/>
                    <a:p>
                      <a:r>
                        <a:rPr lang="nl-NL"/>
                        <a:t>230</a:t>
                      </a:r>
                    </a:p>
                  </a:txBody>
                  <a:tcPr/>
                </a:tc>
                <a:extLst>
                  <a:ext uri="{0D108BD9-81ED-4DB2-BD59-A6C34878D82A}">
                    <a16:rowId xmlns:a16="http://schemas.microsoft.com/office/drawing/2014/main" val="1377510018"/>
                  </a:ext>
                </a:extLst>
              </a:tr>
              <a:tr h="281226">
                <a:tc>
                  <a:txBody>
                    <a:bodyPr/>
                    <a:lstStyle/>
                    <a:p>
                      <a:r>
                        <a:rPr lang="nl-NL"/>
                        <a:t>Externe inhuur en uitzendkrachten</a:t>
                      </a:r>
                    </a:p>
                  </a:txBody>
                  <a:tcPr/>
                </a:tc>
                <a:tc>
                  <a:txBody>
                    <a:bodyPr/>
                    <a:lstStyle/>
                    <a:p>
                      <a:r>
                        <a:rPr lang="nl-NL"/>
                        <a:t>195</a:t>
                      </a:r>
                    </a:p>
                  </a:txBody>
                  <a:tcPr/>
                </a:tc>
                <a:extLst>
                  <a:ext uri="{0D108BD9-81ED-4DB2-BD59-A6C34878D82A}">
                    <a16:rowId xmlns:a16="http://schemas.microsoft.com/office/drawing/2014/main" val="3592969926"/>
                  </a:ext>
                </a:extLst>
              </a:tr>
              <a:tr h="281226">
                <a:tc>
                  <a:txBody>
                    <a:bodyPr/>
                    <a:lstStyle/>
                    <a:p>
                      <a:r>
                        <a:rPr lang="nl-NL"/>
                        <a:t>Van extern naar loondienstcontract</a:t>
                      </a:r>
                    </a:p>
                  </a:txBody>
                  <a:tcPr/>
                </a:tc>
                <a:tc>
                  <a:txBody>
                    <a:bodyPr/>
                    <a:lstStyle/>
                    <a:p>
                      <a:r>
                        <a:rPr lang="nl-NL"/>
                        <a:t>88</a:t>
                      </a:r>
                    </a:p>
                  </a:txBody>
                  <a:tcPr/>
                </a:tc>
                <a:extLst>
                  <a:ext uri="{0D108BD9-81ED-4DB2-BD59-A6C34878D82A}">
                    <a16:rowId xmlns:a16="http://schemas.microsoft.com/office/drawing/2014/main" val="2282941195"/>
                  </a:ext>
                </a:extLst>
              </a:tr>
              <a:tr h="281226">
                <a:tc>
                  <a:txBody>
                    <a:bodyPr/>
                    <a:lstStyle/>
                    <a:p>
                      <a:r>
                        <a:rPr lang="nl-NL" b="1"/>
                        <a:t>Totaal</a:t>
                      </a:r>
                    </a:p>
                  </a:txBody>
                  <a:tcPr/>
                </a:tc>
                <a:tc>
                  <a:txBody>
                    <a:bodyPr/>
                    <a:lstStyle/>
                    <a:p>
                      <a:r>
                        <a:rPr lang="nl-NL" b="1"/>
                        <a:t>513</a:t>
                      </a:r>
                    </a:p>
                  </a:txBody>
                  <a:tcPr/>
                </a:tc>
                <a:extLst>
                  <a:ext uri="{0D108BD9-81ED-4DB2-BD59-A6C34878D82A}">
                    <a16:rowId xmlns:a16="http://schemas.microsoft.com/office/drawing/2014/main" val="2506435476"/>
                  </a:ext>
                </a:extLst>
              </a:tr>
            </a:tbl>
          </a:graphicData>
        </a:graphic>
      </p:graphicFrame>
      <p:graphicFrame>
        <p:nvGraphicFramePr>
          <p:cNvPr id="20" name="Tabel 18">
            <a:extLst>
              <a:ext uri="{FF2B5EF4-FFF2-40B4-BE49-F238E27FC236}">
                <a16:creationId xmlns:a16="http://schemas.microsoft.com/office/drawing/2014/main" id="{7FF669B2-B84E-00F7-2ADD-BF90285F1861}"/>
              </a:ext>
            </a:extLst>
          </p:cNvPr>
          <p:cNvGraphicFramePr>
            <a:graphicFrameLocks noGrp="1"/>
          </p:cNvGraphicFramePr>
          <p:nvPr/>
        </p:nvGraphicFramePr>
        <p:xfrm>
          <a:off x="4595851" y="1659369"/>
          <a:ext cx="6953317" cy="1828800"/>
        </p:xfrm>
        <a:graphic>
          <a:graphicData uri="http://schemas.openxmlformats.org/drawingml/2006/table">
            <a:tbl>
              <a:tblPr firstRow="1" bandRow="1">
                <a:tableStyleId>{5C22544A-7EE6-4342-B048-85BDC9FD1C3A}</a:tableStyleId>
              </a:tblPr>
              <a:tblGrid>
                <a:gridCol w="5263765">
                  <a:extLst>
                    <a:ext uri="{9D8B030D-6E8A-4147-A177-3AD203B41FA5}">
                      <a16:colId xmlns:a16="http://schemas.microsoft.com/office/drawing/2014/main" val="3415505071"/>
                    </a:ext>
                  </a:extLst>
                </a:gridCol>
                <a:gridCol w="1689552">
                  <a:extLst>
                    <a:ext uri="{9D8B030D-6E8A-4147-A177-3AD203B41FA5}">
                      <a16:colId xmlns:a16="http://schemas.microsoft.com/office/drawing/2014/main" val="1712473061"/>
                    </a:ext>
                  </a:extLst>
                </a:gridCol>
              </a:tblGrid>
              <a:tr h="281226">
                <a:tc>
                  <a:txBody>
                    <a:bodyPr/>
                    <a:lstStyle/>
                    <a:p>
                      <a:r>
                        <a:rPr lang="nl-NL"/>
                        <a:t>Instroom naar type contract 2023 T3</a:t>
                      </a:r>
                    </a:p>
                  </a:txBody>
                  <a:tcPr/>
                </a:tc>
                <a:tc>
                  <a:txBody>
                    <a:bodyPr/>
                    <a:lstStyle/>
                    <a:p>
                      <a:r>
                        <a:rPr lang="nl-NL"/>
                        <a:t>Aantal</a:t>
                      </a:r>
                    </a:p>
                  </a:txBody>
                  <a:tcPr/>
                </a:tc>
                <a:extLst>
                  <a:ext uri="{0D108BD9-81ED-4DB2-BD59-A6C34878D82A}">
                    <a16:rowId xmlns:a16="http://schemas.microsoft.com/office/drawing/2014/main" val="2461259510"/>
                  </a:ext>
                </a:extLst>
              </a:tr>
              <a:tr h="281226">
                <a:tc>
                  <a:txBody>
                    <a:bodyPr/>
                    <a:lstStyle/>
                    <a:p>
                      <a:r>
                        <a:rPr lang="nl-NL"/>
                        <a:t>Loondienst</a:t>
                      </a:r>
                    </a:p>
                  </a:txBody>
                  <a:tcPr/>
                </a:tc>
                <a:tc>
                  <a:txBody>
                    <a:bodyPr/>
                    <a:lstStyle/>
                    <a:p>
                      <a:r>
                        <a:rPr lang="nl-NL"/>
                        <a:t>675</a:t>
                      </a:r>
                    </a:p>
                  </a:txBody>
                  <a:tcPr/>
                </a:tc>
                <a:extLst>
                  <a:ext uri="{0D108BD9-81ED-4DB2-BD59-A6C34878D82A}">
                    <a16:rowId xmlns:a16="http://schemas.microsoft.com/office/drawing/2014/main" val="1377510018"/>
                  </a:ext>
                </a:extLst>
              </a:tr>
              <a:tr h="281226">
                <a:tc>
                  <a:txBody>
                    <a:bodyPr/>
                    <a:lstStyle/>
                    <a:p>
                      <a:r>
                        <a:rPr lang="nl-NL"/>
                        <a:t>Externe inhuur en uitzendkrachten</a:t>
                      </a:r>
                    </a:p>
                  </a:txBody>
                  <a:tcPr/>
                </a:tc>
                <a:tc>
                  <a:txBody>
                    <a:bodyPr/>
                    <a:lstStyle/>
                    <a:p>
                      <a:r>
                        <a:rPr lang="nl-NL"/>
                        <a:t>445</a:t>
                      </a:r>
                    </a:p>
                  </a:txBody>
                  <a:tcPr/>
                </a:tc>
                <a:extLst>
                  <a:ext uri="{0D108BD9-81ED-4DB2-BD59-A6C34878D82A}">
                    <a16:rowId xmlns:a16="http://schemas.microsoft.com/office/drawing/2014/main" val="3592969926"/>
                  </a:ext>
                </a:extLst>
              </a:tr>
              <a:tr h="281226">
                <a:tc>
                  <a:txBody>
                    <a:bodyPr/>
                    <a:lstStyle/>
                    <a:p>
                      <a:r>
                        <a:rPr lang="nl-NL"/>
                        <a:t>Van extern naar loondienstcontract</a:t>
                      </a:r>
                    </a:p>
                  </a:txBody>
                  <a:tcPr/>
                </a:tc>
                <a:tc>
                  <a:txBody>
                    <a:bodyPr/>
                    <a:lstStyle/>
                    <a:p>
                      <a:r>
                        <a:rPr lang="nl-NL"/>
                        <a:t>88</a:t>
                      </a:r>
                    </a:p>
                  </a:txBody>
                  <a:tcPr/>
                </a:tc>
                <a:extLst>
                  <a:ext uri="{0D108BD9-81ED-4DB2-BD59-A6C34878D82A}">
                    <a16:rowId xmlns:a16="http://schemas.microsoft.com/office/drawing/2014/main" val="2282941195"/>
                  </a:ext>
                </a:extLst>
              </a:tr>
              <a:tr h="281226">
                <a:tc>
                  <a:txBody>
                    <a:bodyPr/>
                    <a:lstStyle/>
                    <a:p>
                      <a:r>
                        <a:rPr lang="nl-NL" b="1"/>
                        <a:t>Totaal</a:t>
                      </a:r>
                    </a:p>
                  </a:txBody>
                  <a:tcPr/>
                </a:tc>
                <a:tc>
                  <a:txBody>
                    <a:bodyPr/>
                    <a:lstStyle/>
                    <a:p>
                      <a:r>
                        <a:rPr lang="nl-NL" b="1"/>
                        <a:t>1208</a:t>
                      </a:r>
                    </a:p>
                  </a:txBody>
                  <a:tcPr/>
                </a:tc>
                <a:extLst>
                  <a:ext uri="{0D108BD9-81ED-4DB2-BD59-A6C34878D82A}">
                    <a16:rowId xmlns:a16="http://schemas.microsoft.com/office/drawing/2014/main" val="2506435476"/>
                  </a:ext>
                </a:extLst>
              </a:tr>
            </a:tbl>
          </a:graphicData>
        </a:graphic>
      </p:graphicFrame>
      <p:grpSp>
        <p:nvGrpSpPr>
          <p:cNvPr id="24" name="Groep 23">
            <a:extLst>
              <a:ext uri="{FF2B5EF4-FFF2-40B4-BE49-F238E27FC236}">
                <a16:creationId xmlns:a16="http://schemas.microsoft.com/office/drawing/2014/main" id="{2541A2F7-8791-163A-C119-4B554D8E14D3}"/>
              </a:ext>
            </a:extLst>
          </p:cNvPr>
          <p:cNvGrpSpPr/>
          <p:nvPr/>
        </p:nvGrpSpPr>
        <p:grpSpPr>
          <a:xfrm>
            <a:off x="3921401" y="277453"/>
            <a:ext cx="624285" cy="624284"/>
            <a:chOff x="3921401" y="277453"/>
            <a:chExt cx="624285" cy="624284"/>
          </a:xfrm>
        </p:grpSpPr>
        <p:pic>
          <p:nvPicPr>
            <p:cNvPr id="22" name="Graphic 21" descr="Pijl: Horizontale U-bocht silhouet">
              <a:extLst>
                <a:ext uri="{FF2B5EF4-FFF2-40B4-BE49-F238E27FC236}">
                  <a16:creationId xmlns:a16="http://schemas.microsoft.com/office/drawing/2014/main" id="{F56816E5-B556-7918-F260-7B20AB2772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29496" y="277453"/>
              <a:ext cx="416190" cy="416190"/>
            </a:xfrm>
            <a:prstGeom prst="rect">
              <a:avLst/>
            </a:prstGeom>
          </p:spPr>
        </p:pic>
        <p:pic>
          <p:nvPicPr>
            <p:cNvPr id="23" name="Graphic 22" descr="Pijl: Horizontale U-bocht silhouet">
              <a:extLst>
                <a:ext uri="{FF2B5EF4-FFF2-40B4-BE49-F238E27FC236}">
                  <a16:creationId xmlns:a16="http://schemas.microsoft.com/office/drawing/2014/main" id="{BDB71552-FC93-4E7D-64DB-396DF3967C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921401" y="485548"/>
              <a:ext cx="416189" cy="416189"/>
            </a:xfrm>
            <a:prstGeom prst="rect">
              <a:avLst/>
            </a:prstGeom>
          </p:spPr>
        </p:pic>
      </p:grpSp>
      <p:graphicFrame>
        <p:nvGraphicFramePr>
          <p:cNvPr id="26" name="Grafiek 25">
            <a:extLst>
              <a:ext uri="{FF2B5EF4-FFF2-40B4-BE49-F238E27FC236}">
                <a16:creationId xmlns:a16="http://schemas.microsoft.com/office/drawing/2014/main" id="{E0BAC6F5-8971-61AA-63ED-0CDBF9118882}"/>
              </a:ext>
            </a:extLst>
          </p:cNvPr>
          <p:cNvGraphicFramePr>
            <a:graphicFrameLocks/>
          </p:cNvGraphicFramePr>
          <p:nvPr/>
        </p:nvGraphicFramePr>
        <p:xfrm>
          <a:off x="368331" y="3219450"/>
          <a:ext cx="4089369" cy="242833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Tabel 4">
            <a:extLst>
              <a:ext uri="{FF2B5EF4-FFF2-40B4-BE49-F238E27FC236}">
                <a16:creationId xmlns:a16="http://schemas.microsoft.com/office/drawing/2014/main" id="{E63B9D1B-122E-25C0-4F03-3A1F41CAEC48}"/>
              </a:ext>
            </a:extLst>
          </p:cNvPr>
          <p:cNvGraphicFramePr>
            <a:graphicFrameLocks noGrp="1"/>
          </p:cNvGraphicFramePr>
          <p:nvPr>
            <p:extLst>
              <p:ext uri="{D42A27DB-BD31-4B8C-83A1-F6EECF244321}">
                <p14:modId xmlns:p14="http://schemas.microsoft.com/office/powerpoint/2010/main" val="145920395"/>
              </p:ext>
            </p:extLst>
          </p:nvPr>
        </p:nvGraphicFramePr>
        <p:xfrm>
          <a:off x="4595850" y="5647784"/>
          <a:ext cx="6953317" cy="370840"/>
        </p:xfrm>
        <a:graphic>
          <a:graphicData uri="http://schemas.openxmlformats.org/drawingml/2006/table">
            <a:tbl>
              <a:tblPr firstRow="1" bandRow="1">
                <a:tableStyleId>{5C22544A-7EE6-4342-B048-85BDC9FD1C3A}</a:tableStyleId>
              </a:tblPr>
              <a:tblGrid>
                <a:gridCol w="6953317">
                  <a:extLst>
                    <a:ext uri="{9D8B030D-6E8A-4147-A177-3AD203B41FA5}">
                      <a16:colId xmlns:a16="http://schemas.microsoft.com/office/drawing/2014/main" val="1325247309"/>
                    </a:ext>
                  </a:extLst>
                </a:gridCol>
              </a:tblGrid>
              <a:tr h="370840">
                <a:tc>
                  <a:txBody>
                    <a:bodyPr/>
                    <a:lstStyle/>
                    <a:p>
                      <a:r>
                        <a:rPr lang="nl-NL"/>
                        <a:t>Netto groei personeelsbestand dit jaar is 1655 medewerkers</a:t>
                      </a:r>
                    </a:p>
                  </a:txBody>
                  <a:tcPr/>
                </a:tc>
                <a:extLst>
                  <a:ext uri="{0D108BD9-81ED-4DB2-BD59-A6C34878D82A}">
                    <a16:rowId xmlns:a16="http://schemas.microsoft.com/office/drawing/2014/main" val="184642217"/>
                  </a:ext>
                </a:extLst>
              </a:tr>
            </a:tbl>
          </a:graphicData>
        </a:graphic>
      </p:graphicFrame>
    </p:spTree>
    <p:extLst>
      <p:ext uri="{BB962C8B-B14F-4D97-AF65-F5344CB8AC3E}">
        <p14:creationId xmlns:p14="http://schemas.microsoft.com/office/powerpoint/2010/main" val="2861110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2">
            <a:extLst>
              <a:ext uri="{FF2B5EF4-FFF2-40B4-BE49-F238E27FC236}">
                <a16:creationId xmlns:a16="http://schemas.microsoft.com/office/drawing/2014/main" id="{3911DDFE-5B8C-4E74-8C89-37553296EB03}"/>
              </a:ext>
            </a:extLst>
          </p:cNvPr>
          <p:cNvSpPr/>
          <p:nvPr/>
        </p:nvSpPr>
        <p:spPr>
          <a:xfrm>
            <a:off x="165553" y="2689062"/>
            <a:ext cx="10140511" cy="3842581"/>
          </a:xfrm>
          <a:custGeom>
            <a:avLst/>
            <a:gdLst>
              <a:gd name="connsiteX0" fmla="*/ 10085831 w 10140511"/>
              <a:gd name="connsiteY0" fmla="*/ 208362 h 208361"/>
              <a:gd name="connsiteX1" fmla="*/ 54756 w 10140511"/>
              <a:gd name="connsiteY1" fmla="*/ 208362 h 208361"/>
              <a:gd name="connsiteX2" fmla="*/ 0 w 10140511"/>
              <a:gd name="connsiteY2" fmla="*/ 153606 h 208361"/>
              <a:gd name="connsiteX3" fmla="*/ 0 w 10140511"/>
              <a:gd name="connsiteY3" fmla="*/ 0 h 208361"/>
              <a:gd name="connsiteX4" fmla="*/ 10140512 w 10140511"/>
              <a:gd name="connsiteY4" fmla="*/ 0 h 208361"/>
              <a:gd name="connsiteX5" fmla="*/ 10140512 w 10140511"/>
              <a:gd name="connsiteY5" fmla="*/ 153606 h 208361"/>
              <a:gd name="connsiteX6" fmla="*/ 10085831 w 10140511"/>
              <a:gd name="connsiteY6" fmla="*/ 208362 h 20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0511" h="208361">
                <a:moveTo>
                  <a:pt x="10085831" y="208362"/>
                </a:moveTo>
                <a:lnTo>
                  <a:pt x="54756" y="208362"/>
                </a:lnTo>
                <a:cubicBezTo>
                  <a:pt x="24522" y="208362"/>
                  <a:pt x="0" y="183839"/>
                  <a:pt x="0" y="153606"/>
                </a:cubicBezTo>
                <a:lnTo>
                  <a:pt x="0" y="0"/>
                </a:lnTo>
                <a:lnTo>
                  <a:pt x="10140512" y="0"/>
                </a:lnTo>
                <a:lnTo>
                  <a:pt x="10140512" y="153606"/>
                </a:lnTo>
                <a:cubicBezTo>
                  <a:pt x="10140588" y="183839"/>
                  <a:pt x="10116066" y="208362"/>
                  <a:pt x="10085831" y="208362"/>
                </a:cubicBezTo>
                <a:close/>
              </a:path>
            </a:pathLst>
          </a:custGeom>
          <a:solidFill>
            <a:srgbClr val="FFFFFF"/>
          </a:solidFill>
          <a:ln w="7614" cap="flat">
            <a:noFill/>
            <a:prstDash val="solid"/>
            <a:miter/>
          </a:ln>
          <a:effectLst>
            <a:outerShdw blurRad="63500" algn="ctr" rotWithShape="0">
              <a:prstClr val="black">
                <a:alpha val="30000"/>
              </a:prstClr>
            </a:outerShdw>
          </a:effectLst>
        </p:spPr>
        <p:txBody>
          <a:bodyPr rtlCol="0" anchor="ctr"/>
          <a:lstStyle/>
          <a:p>
            <a:endParaRPr lang="nl-NL" sz="5000" dirty="0"/>
          </a:p>
        </p:txBody>
      </p:sp>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4"/>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94471" y="6469490"/>
            <a:ext cx="48091" cy="161583"/>
          </a:xfrm>
          <a:prstGeom prst="rect">
            <a:avLst/>
          </a:prstGeom>
          <a:noFill/>
        </p:spPr>
        <p:txBody>
          <a:bodyPr wrap="none" lIns="0" tIns="0" rIns="0" bIns="0" rtlCol="0">
            <a:spAutoFit/>
          </a:bodyPr>
          <a:lstStyle/>
          <a:p>
            <a:pPr algn="ctr"/>
            <a:fld id="{0C24A3A5-0C50-4F40-9A09-C1BD1EE92E28}" type="slidenum">
              <a:rPr lang="nl-NL" sz="1050">
                <a:solidFill>
                  <a:srgbClr val="000000"/>
                </a:solidFill>
                <a:latin typeface="VAG Rounded Std Thin" panose="020F0402020204020204" pitchFamily="34" charset="0"/>
                <a:cs typeface="Arial"/>
                <a:sym typeface="Arial"/>
                <a:rtl val="0"/>
              </a:rPr>
              <a:t>19</a:t>
            </a:fld>
            <a:endParaRPr lang="nl-NL" sz="1050" dirty="0">
              <a:solidFill>
                <a:srgbClr val="000000"/>
              </a:solidFill>
              <a:latin typeface="VAG Rounded Std Thin" panose="020F0402020204020204" pitchFamily="34" charset="0"/>
              <a:cs typeface="Arial"/>
              <a:sym typeface="Arial"/>
              <a:rtl val="0"/>
            </a:endParaRPr>
          </a:p>
        </p:txBody>
      </p:sp>
      <p:sp>
        <p:nvSpPr>
          <p:cNvPr id="14" name="Graphic 2">
            <a:extLst>
              <a:ext uri="{FF2B5EF4-FFF2-40B4-BE49-F238E27FC236}">
                <a16:creationId xmlns:a16="http://schemas.microsoft.com/office/drawing/2014/main" id="{2FE2B808-55A8-4E8E-A942-18B5A21B0FDC}"/>
              </a:ext>
            </a:extLst>
          </p:cNvPr>
          <p:cNvSpPr/>
          <p:nvPr/>
        </p:nvSpPr>
        <p:spPr>
          <a:xfrm>
            <a:off x="2250282" y="2800338"/>
            <a:ext cx="22860" cy="3795602"/>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18" name="Graphic 2">
            <a:extLst>
              <a:ext uri="{FF2B5EF4-FFF2-40B4-BE49-F238E27FC236}">
                <a16:creationId xmlns:a16="http://schemas.microsoft.com/office/drawing/2014/main" id="{1FF651EC-33D7-441B-A6DD-F9741D565B05}"/>
              </a:ext>
            </a:extLst>
          </p:cNvPr>
          <p:cNvSpPr/>
          <p:nvPr/>
        </p:nvSpPr>
        <p:spPr>
          <a:xfrm>
            <a:off x="6293483" y="2800338"/>
            <a:ext cx="22860" cy="3795602"/>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20" name="Graphic 2">
            <a:extLst>
              <a:ext uri="{FF2B5EF4-FFF2-40B4-BE49-F238E27FC236}">
                <a16:creationId xmlns:a16="http://schemas.microsoft.com/office/drawing/2014/main" id="{3EEA1D06-BA3F-4DDE-A2E1-48C40BCEE953}"/>
              </a:ext>
            </a:extLst>
          </p:cNvPr>
          <p:cNvSpPr/>
          <p:nvPr/>
        </p:nvSpPr>
        <p:spPr>
          <a:xfrm>
            <a:off x="8310205" y="2792327"/>
            <a:ext cx="22860" cy="3803613"/>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22" name="Graphic 2">
            <a:extLst>
              <a:ext uri="{FF2B5EF4-FFF2-40B4-BE49-F238E27FC236}">
                <a16:creationId xmlns:a16="http://schemas.microsoft.com/office/drawing/2014/main" id="{E1C283C3-6E73-4DDD-8279-156C1D2A1472}"/>
              </a:ext>
            </a:extLst>
          </p:cNvPr>
          <p:cNvSpPr/>
          <p:nvPr/>
        </p:nvSpPr>
        <p:spPr>
          <a:xfrm>
            <a:off x="4271883" y="2753360"/>
            <a:ext cx="22860" cy="3842581"/>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76" name="Graphic 2">
            <a:extLst>
              <a:ext uri="{FF2B5EF4-FFF2-40B4-BE49-F238E27FC236}">
                <a16:creationId xmlns:a16="http://schemas.microsoft.com/office/drawing/2014/main" id="{D6DBFCE5-37CC-456B-BAB7-451C25631D82}"/>
              </a:ext>
            </a:extLst>
          </p:cNvPr>
          <p:cNvSpPr txBox="1"/>
          <p:nvPr/>
        </p:nvSpPr>
        <p:spPr>
          <a:xfrm>
            <a:off x="335608" y="4976853"/>
            <a:ext cx="1667394" cy="1184299"/>
          </a:xfrm>
          <a:prstGeom prst="rect">
            <a:avLst/>
          </a:prstGeom>
          <a:noFill/>
        </p:spPr>
        <p:txBody>
          <a:bodyPr wrap="square" lIns="0" tIns="0" rIns="0" bIns="0" rtlCol="0">
            <a:spAutoFit/>
          </a:bodyPr>
          <a:lstStyle/>
          <a:p>
            <a:pPr>
              <a:lnSpc>
                <a:spcPct val="130000"/>
              </a:lnSpc>
              <a:buClr>
                <a:srgbClr val="EA5A0B"/>
              </a:buClr>
              <a:buSzPct val="120000"/>
            </a:pPr>
            <a:r>
              <a:rPr lang="nl-NL" sz="1200" dirty="0">
                <a:solidFill>
                  <a:srgbClr val="000000"/>
                </a:solidFill>
                <a:latin typeface="VAG Rounded Std Thin" panose="020F0402020204020204" pitchFamily="34" charset="0"/>
                <a:cs typeface="Arial"/>
                <a:sym typeface="Arial"/>
                <a:rtl val="0"/>
              </a:rPr>
              <a:t>Vacaturehouders</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Directie</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Lijnmanagement</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Projectleiders</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Etc.</a:t>
            </a:r>
            <a:endParaRPr lang="nl-NL" sz="1200" dirty="0">
              <a:latin typeface="VAG Rounded Std Thin" panose="020F0402020204020204" pitchFamily="34" charset="0"/>
              <a:cs typeface="Arial"/>
              <a:sym typeface="Arial"/>
              <a:rtl val="0"/>
            </a:endParaRPr>
          </a:p>
        </p:txBody>
      </p:sp>
      <p:grpSp>
        <p:nvGrpSpPr>
          <p:cNvPr id="116" name="Graphic 114">
            <a:extLst>
              <a:ext uri="{FF2B5EF4-FFF2-40B4-BE49-F238E27FC236}">
                <a16:creationId xmlns:a16="http://schemas.microsoft.com/office/drawing/2014/main" id="{8AF38D69-D0AC-4263-83C2-72711DE5DD19}"/>
              </a:ext>
            </a:extLst>
          </p:cNvPr>
          <p:cNvGrpSpPr/>
          <p:nvPr/>
        </p:nvGrpSpPr>
        <p:grpSpPr>
          <a:xfrm>
            <a:off x="579069" y="3417950"/>
            <a:ext cx="1020867" cy="961609"/>
            <a:chOff x="1513925" y="3553520"/>
            <a:chExt cx="1020867" cy="961609"/>
          </a:xfrm>
          <a:solidFill>
            <a:srgbClr val="747373"/>
          </a:solidFill>
        </p:grpSpPr>
        <p:grpSp>
          <p:nvGrpSpPr>
            <p:cNvPr id="117" name="Graphic 114">
              <a:extLst>
                <a:ext uri="{FF2B5EF4-FFF2-40B4-BE49-F238E27FC236}">
                  <a16:creationId xmlns:a16="http://schemas.microsoft.com/office/drawing/2014/main" id="{9D3EBFC8-BBC7-42F8-989A-4F3143561FFE}"/>
                </a:ext>
              </a:extLst>
            </p:cNvPr>
            <p:cNvGrpSpPr/>
            <p:nvPr/>
          </p:nvGrpSpPr>
          <p:grpSpPr>
            <a:xfrm>
              <a:off x="1962996" y="3553520"/>
              <a:ext cx="125994" cy="278102"/>
              <a:chOff x="1962996" y="3553520"/>
              <a:chExt cx="125994" cy="278102"/>
            </a:xfrm>
            <a:solidFill>
              <a:srgbClr val="747373"/>
            </a:solidFill>
          </p:grpSpPr>
          <p:sp>
            <p:nvSpPr>
              <p:cNvPr id="118" name="Graphic 114">
                <a:extLst>
                  <a:ext uri="{FF2B5EF4-FFF2-40B4-BE49-F238E27FC236}">
                    <a16:creationId xmlns:a16="http://schemas.microsoft.com/office/drawing/2014/main" id="{931005E8-2EB5-49BB-B38C-EB68506F9685}"/>
                  </a:ext>
                </a:extLst>
              </p:cNvPr>
              <p:cNvSpPr/>
              <p:nvPr/>
            </p:nvSpPr>
            <p:spPr>
              <a:xfrm>
                <a:off x="1962996" y="3604009"/>
                <a:ext cx="125994" cy="227612"/>
              </a:xfrm>
              <a:custGeom>
                <a:avLst/>
                <a:gdLst>
                  <a:gd name="connsiteX0" fmla="*/ 107277 w 125994"/>
                  <a:gd name="connsiteY0" fmla="*/ 22916 h 227612"/>
                  <a:gd name="connsiteX1" fmla="*/ 75564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4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1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7 w 125994"/>
                  <a:gd name="connsiteY23" fmla="*/ 138607 h 227612"/>
                  <a:gd name="connsiteX24" fmla="*/ 62849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599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4 w 125994"/>
                  <a:gd name="connsiteY44" fmla="*/ 90630 h 227612"/>
                  <a:gd name="connsiteX45" fmla="*/ 124797 w 125994"/>
                  <a:gd name="connsiteY45" fmla="*/ 82868 h 227612"/>
                  <a:gd name="connsiteX46" fmla="*/ 107277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7" y="22916"/>
                    </a:moveTo>
                    <a:cubicBezTo>
                      <a:pt x="102620" y="7688"/>
                      <a:pt x="91754" y="0"/>
                      <a:pt x="75564" y="0"/>
                    </a:cubicBezTo>
                    <a:cubicBezTo>
                      <a:pt x="71425"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3912" y="129736"/>
                      <a:pt x="19308" y="136759"/>
                      <a:pt x="26701" y="136759"/>
                    </a:cubicBezTo>
                    <a:lnTo>
                      <a:pt x="39268" y="136759"/>
                    </a:lnTo>
                    <a:lnTo>
                      <a:pt x="39268" y="144077"/>
                    </a:lnTo>
                    <a:cubicBezTo>
                      <a:pt x="39268" y="164184"/>
                      <a:pt x="39268" y="184292"/>
                      <a:pt x="39268" y="204325"/>
                    </a:cubicBezTo>
                    <a:cubicBezTo>
                      <a:pt x="39268" y="208834"/>
                      <a:pt x="39268" y="213344"/>
                      <a:pt x="39711" y="217853"/>
                    </a:cubicBezTo>
                    <a:cubicBezTo>
                      <a:pt x="40377" y="224284"/>
                      <a:pt x="43777" y="227537"/>
                      <a:pt x="49395" y="227611"/>
                    </a:cubicBezTo>
                    <a:cubicBezTo>
                      <a:pt x="55235"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7" y="138607"/>
                    </a:cubicBezTo>
                    <a:cubicBezTo>
                      <a:pt x="61075" y="137868"/>
                      <a:pt x="62258" y="136759"/>
                      <a:pt x="62849" y="136907"/>
                    </a:cubicBezTo>
                    <a:cubicBezTo>
                      <a:pt x="62849" y="136907"/>
                      <a:pt x="62923" y="136907"/>
                      <a:pt x="62997" y="136907"/>
                    </a:cubicBezTo>
                    <a:cubicBezTo>
                      <a:pt x="62997" y="136907"/>
                      <a:pt x="63071" y="136907"/>
                      <a:pt x="63145" y="136907"/>
                    </a:cubicBezTo>
                    <a:cubicBezTo>
                      <a:pt x="63736"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599" y="227611"/>
                    </a:cubicBezTo>
                    <a:cubicBezTo>
                      <a:pt x="82217"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3"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2" y="52042"/>
                      <a:pt x="101881" y="68749"/>
                      <a:pt x="106908" y="85382"/>
                    </a:cubicBezTo>
                    <a:cubicBezTo>
                      <a:pt x="107869" y="88487"/>
                      <a:pt x="108386" y="92257"/>
                      <a:pt x="110530" y="94327"/>
                    </a:cubicBezTo>
                    <a:cubicBezTo>
                      <a:pt x="112822" y="96544"/>
                      <a:pt x="116961" y="98540"/>
                      <a:pt x="119771" y="97949"/>
                    </a:cubicBezTo>
                    <a:cubicBezTo>
                      <a:pt x="122210" y="97431"/>
                      <a:pt x="124576" y="93513"/>
                      <a:pt x="125684" y="90630"/>
                    </a:cubicBezTo>
                    <a:cubicBezTo>
                      <a:pt x="126498" y="88487"/>
                      <a:pt x="125537" y="85382"/>
                      <a:pt x="124797" y="82868"/>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19" name="Graphic 114">
                <a:extLst>
                  <a:ext uri="{FF2B5EF4-FFF2-40B4-BE49-F238E27FC236}">
                    <a16:creationId xmlns:a16="http://schemas.microsoft.com/office/drawing/2014/main" id="{53BEF1CA-169B-4A75-95CD-7DC9EE390E71}"/>
                  </a:ext>
                </a:extLst>
              </p:cNvPr>
              <p:cNvSpPr/>
              <p:nvPr/>
            </p:nvSpPr>
            <p:spPr>
              <a:xfrm>
                <a:off x="2003964" y="355352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20" name="Graphic 114">
              <a:extLst>
                <a:ext uri="{FF2B5EF4-FFF2-40B4-BE49-F238E27FC236}">
                  <a16:creationId xmlns:a16="http://schemas.microsoft.com/office/drawing/2014/main" id="{E04A0906-A322-4145-BE0D-90187C8C468F}"/>
                </a:ext>
              </a:extLst>
            </p:cNvPr>
            <p:cNvGrpSpPr/>
            <p:nvPr/>
          </p:nvGrpSpPr>
          <p:grpSpPr>
            <a:xfrm>
              <a:off x="1962996" y="3920624"/>
              <a:ext cx="126216" cy="278176"/>
              <a:chOff x="1962996" y="3920624"/>
              <a:chExt cx="126216" cy="278176"/>
            </a:xfrm>
            <a:solidFill>
              <a:srgbClr val="747373"/>
            </a:solidFill>
          </p:grpSpPr>
          <p:sp>
            <p:nvSpPr>
              <p:cNvPr id="121" name="Graphic 114">
                <a:extLst>
                  <a:ext uri="{FF2B5EF4-FFF2-40B4-BE49-F238E27FC236}">
                    <a16:creationId xmlns:a16="http://schemas.microsoft.com/office/drawing/2014/main" id="{EBBFD9CB-29B6-49E5-BB4E-5C10D847E3C9}"/>
                  </a:ext>
                </a:extLst>
              </p:cNvPr>
              <p:cNvSpPr/>
              <p:nvPr/>
            </p:nvSpPr>
            <p:spPr>
              <a:xfrm>
                <a:off x="1962996" y="3971114"/>
                <a:ext cx="126216" cy="227686"/>
              </a:xfrm>
              <a:custGeom>
                <a:avLst/>
                <a:gdLst>
                  <a:gd name="connsiteX0" fmla="*/ 107277 w 126216"/>
                  <a:gd name="connsiteY0" fmla="*/ 22916 h 227686"/>
                  <a:gd name="connsiteX1" fmla="*/ 75564 w 126216"/>
                  <a:gd name="connsiteY1" fmla="*/ 0 h 227686"/>
                  <a:gd name="connsiteX2" fmla="*/ 63145 w 126216"/>
                  <a:gd name="connsiteY2" fmla="*/ 0 h 227686"/>
                  <a:gd name="connsiteX3" fmla="*/ 50726 w 126216"/>
                  <a:gd name="connsiteY3" fmla="*/ 0 h 227686"/>
                  <a:gd name="connsiteX4" fmla="*/ 19013 w 126216"/>
                  <a:gd name="connsiteY4" fmla="*/ 22916 h 227686"/>
                  <a:gd name="connsiteX5" fmla="*/ 1197 w 126216"/>
                  <a:gd name="connsiteY5" fmla="*/ 82868 h 227686"/>
                  <a:gd name="connsiteX6" fmla="*/ 310 w 126216"/>
                  <a:gd name="connsiteY6" fmla="*/ 90630 h 227686"/>
                  <a:gd name="connsiteX7" fmla="*/ 6224 w 126216"/>
                  <a:gd name="connsiteY7" fmla="*/ 97949 h 227686"/>
                  <a:gd name="connsiteX8" fmla="*/ 15464 w 126216"/>
                  <a:gd name="connsiteY8" fmla="*/ 94327 h 227686"/>
                  <a:gd name="connsiteX9" fmla="*/ 19087 w 126216"/>
                  <a:gd name="connsiteY9" fmla="*/ 85382 h 227686"/>
                  <a:gd name="connsiteX10" fmla="*/ 34019 w 126216"/>
                  <a:gd name="connsiteY10" fmla="*/ 35409 h 227686"/>
                  <a:gd name="connsiteX11" fmla="*/ 37494 w 126216"/>
                  <a:gd name="connsiteY11" fmla="*/ 30974 h 227686"/>
                  <a:gd name="connsiteX12" fmla="*/ 40155 w 126216"/>
                  <a:gd name="connsiteY12" fmla="*/ 34744 h 227686"/>
                  <a:gd name="connsiteX13" fmla="*/ 15908 w 126216"/>
                  <a:gd name="connsiteY13" fmla="*/ 122565 h 227686"/>
                  <a:gd name="connsiteX14" fmla="*/ 26922 w 126216"/>
                  <a:gd name="connsiteY14" fmla="*/ 136833 h 227686"/>
                  <a:gd name="connsiteX15" fmla="*/ 39489 w 126216"/>
                  <a:gd name="connsiteY15" fmla="*/ 136833 h 227686"/>
                  <a:gd name="connsiteX16" fmla="*/ 39489 w 126216"/>
                  <a:gd name="connsiteY16" fmla="*/ 144151 h 227686"/>
                  <a:gd name="connsiteX17" fmla="*/ 39489 w 126216"/>
                  <a:gd name="connsiteY17" fmla="*/ 204399 h 227686"/>
                  <a:gd name="connsiteX18" fmla="*/ 39933 w 126216"/>
                  <a:gd name="connsiteY18" fmla="*/ 217927 h 227686"/>
                  <a:gd name="connsiteX19" fmla="*/ 49617 w 126216"/>
                  <a:gd name="connsiteY19" fmla="*/ 227685 h 227686"/>
                  <a:gd name="connsiteX20" fmla="*/ 59892 w 126216"/>
                  <a:gd name="connsiteY20" fmla="*/ 218518 h 227686"/>
                  <a:gd name="connsiteX21" fmla="*/ 60853 w 126216"/>
                  <a:gd name="connsiteY21" fmla="*/ 206912 h 227686"/>
                  <a:gd name="connsiteX22" fmla="*/ 60927 w 126216"/>
                  <a:gd name="connsiteY22" fmla="*/ 143560 h 227686"/>
                  <a:gd name="connsiteX23" fmla="*/ 61149 w 126216"/>
                  <a:gd name="connsiteY23" fmla="*/ 138681 h 227686"/>
                  <a:gd name="connsiteX24" fmla="*/ 63071 w 126216"/>
                  <a:gd name="connsiteY24" fmla="*/ 136980 h 227686"/>
                  <a:gd name="connsiteX25" fmla="*/ 63219 w 126216"/>
                  <a:gd name="connsiteY25" fmla="*/ 136980 h 227686"/>
                  <a:gd name="connsiteX26" fmla="*/ 63367 w 126216"/>
                  <a:gd name="connsiteY26" fmla="*/ 136980 h 227686"/>
                  <a:gd name="connsiteX27" fmla="*/ 65289 w 126216"/>
                  <a:gd name="connsiteY27" fmla="*/ 138681 h 227686"/>
                  <a:gd name="connsiteX28" fmla="*/ 65511 w 126216"/>
                  <a:gd name="connsiteY28" fmla="*/ 143560 h 227686"/>
                  <a:gd name="connsiteX29" fmla="*/ 65585 w 126216"/>
                  <a:gd name="connsiteY29" fmla="*/ 206912 h 227686"/>
                  <a:gd name="connsiteX30" fmla="*/ 66546 w 126216"/>
                  <a:gd name="connsiteY30" fmla="*/ 218518 h 227686"/>
                  <a:gd name="connsiteX31" fmla="*/ 76821 w 126216"/>
                  <a:gd name="connsiteY31" fmla="*/ 227685 h 227686"/>
                  <a:gd name="connsiteX32" fmla="*/ 86505 w 126216"/>
                  <a:gd name="connsiteY32" fmla="*/ 217927 h 227686"/>
                  <a:gd name="connsiteX33" fmla="*/ 86948 w 126216"/>
                  <a:gd name="connsiteY33" fmla="*/ 204399 h 227686"/>
                  <a:gd name="connsiteX34" fmla="*/ 86948 w 126216"/>
                  <a:gd name="connsiteY34" fmla="*/ 144151 h 227686"/>
                  <a:gd name="connsiteX35" fmla="*/ 86948 w 126216"/>
                  <a:gd name="connsiteY35" fmla="*/ 136833 h 227686"/>
                  <a:gd name="connsiteX36" fmla="*/ 99515 w 126216"/>
                  <a:gd name="connsiteY36" fmla="*/ 136833 h 227686"/>
                  <a:gd name="connsiteX37" fmla="*/ 110308 w 126216"/>
                  <a:gd name="connsiteY37" fmla="*/ 122639 h 227686"/>
                  <a:gd name="connsiteX38" fmla="*/ 86061 w 126216"/>
                  <a:gd name="connsiteY38" fmla="*/ 34818 h 227686"/>
                  <a:gd name="connsiteX39" fmla="*/ 88723 w 126216"/>
                  <a:gd name="connsiteY39" fmla="*/ 31048 h 227686"/>
                  <a:gd name="connsiteX40" fmla="*/ 92197 w 126216"/>
                  <a:gd name="connsiteY40" fmla="*/ 35483 h 227686"/>
                  <a:gd name="connsiteX41" fmla="*/ 107130 w 126216"/>
                  <a:gd name="connsiteY41" fmla="*/ 85456 h 227686"/>
                  <a:gd name="connsiteX42" fmla="*/ 110752 w 126216"/>
                  <a:gd name="connsiteY42" fmla="*/ 94401 h 227686"/>
                  <a:gd name="connsiteX43" fmla="*/ 119992 w 126216"/>
                  <a:gd name="connsiteY43" fmla="*/ 98023 h 227686"/>
                  <a:gd name="connsiteX44" fmla="*/ 125906 w 126216"/>
                  <a:gd name="connsiteY44" fmla="*/ 90704 h 227686"/>
                  <a:gd name="connsiteX45" fmla="*/ 125019 w 126216"/>
                  <a:gd name="connsiteY45" fmla="*/ 82942 h 227686"/>
                  <a:gd name="connsiteX46" fmla="*/ 107277 w 126216"/>
                  <a:gd name="connsiteY46" fmla="*/ 22916 h 22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6216" h="227686">
                    <a:moveTo>
                      <a:pt x="107277" y="22916"/>
                    </a:moveTo>
                    <a:cubicBezTo>
                      <a:pt x="102620" y="7688"/>
                      <a:pt x="91754" y="0"/>
                      <a:pt x="75564" y="0"/>
                    </a:cubicBezTo>
                    <a:cubicBezTo>
                      <a:pt x="71425"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4134" y="129810"/>
                      <a:pt x="19530" y="136833"/>
                      <a:pt x="26922" y="136833"/>
                    </a:cubicBezTo>
                    <a:lnTo>
                      <a:pt x="39489" y="136833"/>
                    </a:lnTo>
                    <a:lnTo>
                      <a:pt x="39489" y="144151"/>
                    </a:lnTo>
                    <a:cubicBezTo>
                      <a:pt x="39489" y="164258"/>
                      <a:pt x="39489" y="184366"/>
                      <a:pt x="39489" y="204399"/>
                    </a:cubicBezTo>
                    <a:cubicBezTo>
                      <a:pt x="39489" y="208908"/>
                      <a:pt x="39489" y="213418"/>
                      <a:pt x="39933" y="217927"/>
                    </a:cubicBezTo>
                    <a:cubicBezTo>
                      <a:pt x="40598" y="224358"/>
                      <a:pt x="43999" y="227611"/>
                      <a:pt x="49617" y="227685"/>
                    </a:cubicBezTo>
                    <a:cubicBezTo>
                      <a:pt x="55457" y="227759"/>
                      <a:pt x="58931" y="224876"/>
                      <a:pt x="59892" y="218518"/>
                    </a:cubicBezTo>
                    <a:cubicBezTo>
                      <a:pt x="60484" y="214674"/>
                      <a:pt x="60853" y="210756"/>
                      <a:pt x="60853" y="206912"/>
                    </a:cubicBezTo>
                    <a:cubicBezTo>
                      <a:pt x="60927" y="185770"/>
                      <a:pt x="60853" y="164628"/>
                      <a:pt x="60927" y="143560"/>
                    </a:cubicBezTo>
                    <a:cubicBezTo>
                      <a:pt x="60927" y="141933"/>
                      <a:pt x="60853" y="140233"/>
                      <a:pt x="61149" y="138681"/>
                    </a:cubicBezTo>
                    <a:cubicBezTo>
                      <a:pt x="61297" y="137942"/>
                      <a:pt x="62480" y="136833"/>
                      <a:pt x="63071" y="136980"/>
                    </a:cubicBezTo>
                    <a:cubicBezTo>
                      <a:pt x="63071" y="136980"/>
                      <a:pt x="63145" y="136980"/>
                      <a:pt x="63219" y="136980"/>
                    </a:cubicBezTo>
                    <a:cubicBezTo>
                      <a:pt x="63219" y="136980"/>
                      <a:pt x="63293" y="136980"/>
                      <a:pt x="63367" y="136980"/>
                    </a:cubicBezTo>
                    <a:cubicBezTo>
                      <a:pt x="63958" y="136907"/>
                      <a:pt x="65141" y="138015"/>
                      <a:pt x="65289" y="138681"/>
                    </a:cubicBezTo>
                    <a:cubicBezTo>
                      <a:pt x="65658" y="140233"/>
                      <a:pt x="65511" y="141933"/>
                      <a:pt x="65511" y="143560"/>
                    </a:cubicBezTo>
                    <a:cubicBezTo>
                      <a:pt x="65511" y="164702"/>
                      <a:pt x="65511" y="185844"/>
                      <a:pt x="65585" y="206912"/>
                    </a:cubicBezTo>
                    <a:cubicBezTo>
                      <a:pt x="65585" y="210830"/>
                      <a:pt x="65954" y="214674"/>
                      <a:pt x="66546" y="218518"/>
                    </a:cubicBezTo>
                    <a:cubicBezTo>
                      <a:pt x="67507" y="224876"/>
                      <a:pt x="71055" y="227759"/>
                      <a:pt x="76821" y="227685"/>
                    </a:cubicBezTo>
                    <a:cubicBezTo>
                      <a:pt x="82439" y="227611"/>
                      <a:pt x="85914" y="224358"/>
                      <a:pt x="86505" y="217927"/>
                    </a:cubicBezTo>
                    <a:cubicBezTo>
                      <a:pt x="86948" y="213418"/>
                      <a:pt x="86948" y="208908"/>
                      <a:pt x="86948" y="204399"/>
                    </a:cubicBezTo>
                    <a:cubicBezTo>
                      <a:pt x="86948" y="184292"/>
                      <a:pt x="86948" y="164184"/>
                      <a:pt x="86948" y="144151"/>
                    </a:cubicBezTo>
                    <a:lnTo>
                      <a:pt x="86948" y="136833"/>
                    </a:lnTo>
                    <a:lnTo>
                      <a:pt x="99515" y="136833"/>
                    </a:lnTo>
                    <a:cubicBezTo>
                      <a:pt x="106908" y="136833"/>
                      <a:pt x="112304" y="129810"/>
                      <a:pt x="110308" y="122639"/>
                    </a:cubicBezTo>
                    <a:cubicBezTo>
                      <a:pt x="102177" y="92996"/>
                      <a:pt x="94119" y="64018"/>
                      <a:pt x="86061" y="34818"/>
                    </a:cubicBezTo>
                    <a:cubicBezTo>
                      <a:pt x="85544" y="32970"/>
                      <a:pt x="86875" y="31122"/>
                      <a:pt x="88723" y="31048"/>
                    </a:cubicBezTo>
                    <a:cubicBezTo>
                      <a:pt x="90866" y="30974"/>
                      <a:pt x="91532" y="33266"/>
                      <a:pt x="92197" y="35483"/>
                    </a:cubicBezTo>
                    <a:cubicBezTo>
                      <a:pt x="97224" y="52116"/>
                      <a:pt x="102103" y="68823"/>
                      <a:pt x="107130" y="85456"/>
                    </a:cubicBezTo>
                    <a:cubicBezTo>
                      <a:pt x="108091" y="88561"/>
                      <a:pt x="108608" y="92331"/>
                      <a:pt x="110752" y="94401"/>
                    </a:cubicBezTo>
                    <a:cubicBezTo>
                      <a:pt x="113044" y="96618"/>
                      <a:pt x="117183" y="98614"/>
                      <a:pt x="119992" y="98023"/>
                    </a:cubicBezTo>
                    <a:cubicBezTo>
                      <a:pt x="122432" y="97505"/>
                      <a:pt x="124797" y="93587"/>
                      <a:pt x="125906" y="90704"/>
                    </a:cubicBezTo>
                    <a:cubicBezTo>
                      <a:pt x="126719" y="88561"/>
                      <a:pt x="125758" y="85456"/>
                      <a:pt x="125019" y="82942"/>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22" name="Graphic 114">
                <a:extLst>
                  <a:ext uri="{FF2B5EF4-FFF2-40B4-BE49-F238E27FC236}">
                    <a16:creationId xmlns:a16="http://schemas.microsoft.com/office/drawing/2014/main" id="{E8651A9E-9467-44A0-AA90-111913E4928D}"/>
                  </a:ext>
                </a:extLst>
              </p:cNvPr>
              <p:cNvSpPr/>
              <p:nvPr/>
            </p:nvSpPr>
            <p:spPr>
              <a:xfrm>
                <a:off x="2003964" y="3920624"/>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23" name="Graphic 114">
              <a:extLst>
                <a:ext uri="{FF2B5EF4-FFF2-40B4-BE49-F238E27FC236}">
                  <a16:creationId xmlns:a16="http://schemas.microsoft.com/office/drawing/2014/main" id="{6ADBCA2A-0AC9-47E4-B7A1-8AC25E828855}"/>
                </a:ext>
              </a:extLst>
            </p:cNvPr>
            <p:cNvGrpSpPr/>
            <p:nvPr/>
          </p:nvGrpSpPr>
          <p:grpSpPr>
            <a:xfrm>
              <a:off x="2335054" y="3920624"/>
              <a:ext cx="125994" cy="278102"/>
              <a:chOff x="2335054" y="3920624"/>
              <a:chExt cx="125994" cy="278102"/>
            </a:xfrm>
            <a:solidFill>
              <a:srgbClr val="747373"/>
            </a:solidFill>
          </p:grpSpPr>
          <p:sp>
            <p:nvSpPr>
              <p:cNvPr id="124" name="Graphic 114">
                <a:extLst>
                  <a:ext uri="{FF2B5EF4-FFF2-40B4-BE49-F238E27FC236}">
                    <a16:creationId xmlns:a16="http://schemas.microsoft.com/office/drawing/2014/main" id="{94EE782E-990B-4154-8831-B41C4ABCB711}"/>
                  </a:ext>
                </a:extLst>
              </p:cNvPr>
              <p:cNvSpPr/>
              <p:nvPr/>
            </p:nvSpPr>
            <p:spPr>
              <a:xfrm>
                <a:off x="2335054" y="3971114"/>
                <a:ext cx="125994" cy="227612"/>
              </a:xfrm>
              <a:custGeom>
                <a:avLst/>
                <a:gdLst>
                  <a:gd name="connsiteX0" fmla="*/ 107277 w 125994"/>
                  <a:gd name="connsiteY0" fmla="*/ 22916 h 227612"/>
                  <a:gd name="connsiteX1" fmla="*/ 75564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4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1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7 w 125994"/>
                  <a:gd name="connsiteY23" fmla="*/ 138607 h 227612"/>
                  <a:gd name="connsiteX24" fmla="*/ 62849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599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833 h 227612"/>
                  <a:gd name="connsiteX36" fmla="*/ 99294 w 125994"/>
                  <a:gd name="connsiteY36" fmla="*/ 136833 h 227612"/>
                  <a:gd name="connsiteX37" fmla="*/ 110087 w 125994"/>
                  <a:gd name="connsiteY37" fmla="*/ 122639 h 227612"/>
                  <a:gd name="connsiteX38" fmla="*/ 85840 w 125994"/>
                  <a:gd name="connsiteY38" fmla="*/ 34818 h 227612"/>
                  <a:gd name="connsiteX39" fmla="*/ 88501 w 125994"/>
                  <a:gd name="connsiteY39" fmla="*/ 31048 h 227612"/>
                  <a:gd name="connsiteX40" fmla="*/ 91975 w 125994"/>
                  <a:gd name="connsiteY40" fmla="*/ 35483 h 227612"/>
                  <a:gd name="connsiteX41" fmla="*/ 106908 w 125994"/>
                  <a:gd name="connsiteY41" fmla="*/ 85456 h 227612"/>
                  <a:gd name="connsiteX42" fmla="*/ 110530 w 125994"/>
                  <a:gd name="connsiteY42" fmla="*/ 94401 h 227612"/>
                  <a:gd name="connsiteX43" fmla="*/ 119771 w 125994"/>
                  <a:gd name="connsiteY43" fmla="*/ 98023 h 227612"/>
                  <a:gd name="connsiteX44" fmla="*/ 125684 w 125994"/>
                  <a:gd name="connsiteY44" fmla="*/ 90704 h 227612"/>
                  <a:gd name="connsiteX45" fmla="*/ 124797 w 125994"/>
                  <a:gd name="connsiteY45" fmla="*/ 82942 h 227612"/>
                  <a:gd name="connsiteX46" fmla="*/ 107277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7" y="22916"/>
                    </a:moveTo>
                    <a:cubicBezTo>
                      <a:pt x="102620" y="7688"/>
                      <a:pt x="91753" y="0"/>
                      <a:pt x="75564" y="0"/>
                    </a:cubicBezTo>
                    <a:cubicBezTo>
                      <a:pt x="71424"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3912" y="129736"/>
                      <a:pt x="19308" y="136759"/>
                      <a:pt x="26701" y="136759"/>
                    </a:cubicBezTo>
                    <a:lnTo>
                      <a:pt x="39268" y="136759"/>
                    </a:lnTo>
                    <a:lnTo>
                      <a:pt x="39268" y="144077"/>
                    </a:lnTo>
                    <a:cubicBezTo>
                      <a:pt x="39268" y="164184"/>
                      <a:pt x="39268" y="184292"/>
                      <a:pt x="39268" y="204325"/>
                    </a:cubicBezTo>
                    <a:cubicBezTo>
                      <a:pt x="39268" y="208834"/>
                      <a:pt x="39268" y="213344"/>
                      <a:pt x="39711" y="217853"/>
                    </a:cubicBezTo>
                    <a:cubicBezTo>
                      <a:pt x="40377" y="224284"/>
                      <a:pt x="43777" y="227537"/>
                      <a:pt x="49395" y="227611"/>
                    </a:cubicBezTo>
                    <a:cubicBezTo>
                      <a:pt x="55235"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7" y="138607"/>
                    </a:cubicBezTo>
                    <a:cubicBezTo>
                      <a:pt x="61075" y="137868"/>
                      <a:pt x="62258" y="136759"/>
                      <a:pt x="62849" y="136907"/>
                    </a:cubicBezTo>
                    <a:cubicBezTo>
                      <a:pt x="62849" y="136907"/>
                      <a:pt x="62923" y="136907"/>
                      <a:pt x="62997" y="136907"/>
                    </a:cubicBezTo>
                    <a:cubicBezTo>
                      <a:pt x="62997" y="136907"/>
                      <a:pt x="63071" y="136907"/>
                      <a:pt x="63145" y="136907"/>
                    </a:cubicBezTo>
                    <a:cubicBezTo>
                      <a:pt x="63736"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599" y="227611"/>
                    </a:cubicBezTo>
                    <a:cubicBezTo>
                      <a:pt x="82217" y="227537"/>
                      <a:pt x="85692" y="224284"/>
                      <a:pt x="86283" y="217853"/>
                    </a:cubicBezTo>
                    <a:cubicBezTo>
                      <a:pt x="86727" y="213344"/>
                      <a:pt x="86727" y="208834"/>
                      <a:pt x="86727" y="204325"/>
                    </a:cubicBezTo>
                    <a:cubicBezTo>
                      <a:pt x="86727" y="184218"/>
                      <a:pt x="86727" y="164111"/>
                      <a:pt x="86727" y="144077"/>
                    </a:cubicBezTo>
                    <a:lnTo>
                      <a:pt x="86727" y="136833"/>
                    </a:lnTo>
                    <a:lnTo>
                      <a:pt x="99294" y="136833"/>
                    </a:lnTo>
                    <a:cubicBezTo>
                      <a:pt x="106686" y="136833"/>
                      <a:pt x="112082" y="129810"/>
                      <a:pt x="110087" y="122639"/>
                    </a:cubicBezTo>
                    <a:cubicBezTo>
                      <a:pt x="101955" y="92996"/>
                      <a:pt x="93897" y="64018"/>
                      <a:pt x="85840" y="34818"/>
                    </a:cubicBezTo>
                    <a:cubicBezTo>
                      <a:pt x="85322" y="32970"/>
                      <a:pt x="86653" y="31122"/>
                      <a:pt x="88501" y="31048"/>
                    </a:cubicBezTo>
                    <a:cubicBezTo>
                      <a:pt x="90645" y="30974"/>
                      <a:pt x="91310" y="33266"/>
                      <a:pt x="91975" y="35483"/>
                    </a:cubicBezTo>
                    <a:cubicBezTo>
                      <a:pt x="97002" y="52116"/>
                      <a:pt x="101881" y="68823"/>
                      <a:pt x="106908" y="85456"/>
                    </a:cubicBezTo>
                    <a:cubicBezTo>
                      <a:pt x="107869" y="88561"/>
                      <a:pt x="108386" y="92331"/>
                      <a:pt x="110530" y="94401"/>
                    </a:cubicBezTo>
                    <a:cubicBezTo>
                      <a:pt x="112822" y="96618"/>
                      <a:pt x="116961" y="98614"/>
                      <a:pt x="119771" y="98023"/>
                    </a:cubicBezTo>
                    <a:cubicBezTo>
                      <a:pt x="122210" y="97505"/>
                      <a:pt x="124576" y="93587"/>
                      <a:pt x="125684" y="90704"/>
                    </a:cubicBezTo>
                    <a:cubicBezTo>
                      <a:pt x="126498" y="88561"/>
                      <a:pt x="125537" y="85456"/>
                      <a:pt x="124797" y="82942"/>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25" name="Graphic 114">
                <a:extLst>
                  <a:ext uri="{FF2B5EF4-FFF2-40B4-BE49-F238E27FC236}">
                    <a16:creationId xmlns:a16="http://schemas.microsoft.com/office/drawing/2014/main" id="{6D0104AA-FE8A-4283-823A-93D420DFD829}"/>
                  </a:ext>
                </a:extLst>
              </p:cNvPr>
              <p:cNvSpPr/>
              <p:nvPr/>
            </p:nvSpPr>
            <p:spPr>
              <a:xfrm>
                <a:off x="2376022" y="3920624"/>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sp>
          <p:nvSpPr>
            <p:cNvPr id="126" name="Graphic 114">
              <a:extLst>
                <a:ext uri="{FF2B5EF4-FFF2-40B4-BE49-F238E27FC236}">
                  <a16:creationId xmlns:a16="http://schemas.microsoft.com/office/drawing/2014/main" id="{FBC47B45-D5A2-4DA8-A30F-84E1A389D8DB}"/>
                </a:ext>
              </a:extLst>
            </p:cNvPr>
            <p:cNvSpPr/>
            <p:nvPr/>
          </p:nvSpPr>
          <p:spPr>
            <a:xfrm>
              <a:off x="1540537"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27" name="Graphic 114">
              <a:extLst>
                <a:ext uri="{FF2B5EF4-FFF2-40B4-BE49-F238E27FC236}">
                  <a16:creationId xmlns:a16="http://schemas.microsoft.com/office/drawing/2014/main" id="{41E86BA7-83C5-4F7B-A918-27E36DD2B16B}"/>
                </a:ext>
              </a:extLst>
            </p:cNvPr>
            <p:cNvSpPr/>
            <p:nvPr/>
          </p:nvSpPr>
          <p:spPr>
            <a:xfrm>
              <a:off x="1719063"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28" name="Graphic 114">
              <a:extLst>
                <a:ext uri="{FF2B5EF4-FFF2-40B4-BE49-F238E27FC236}">
                  <a16:creationId xmlns:a16="http://schemas.microsoft.com/office/drawing/2014/main" id="{17965E30-0FD8-48DD-A839-E74281A98FC1}"/>
                </a:ext>
              </a:extLst>
            </p:cNvPr>
            <p:cNvGrpSpPr/>
            <p:nvPr/>
          </p:nvGrpSpPr>
          <p:grpSpPr>
            <a:xfrm>
              <a:off x="1603594" y="4280854"/>
              <a:ext cx="90390" cy="234274"/>
              <a:chOff x="1603594" y="4280854"/>
              <a:chExt cx="90390" cy="234274"/>
            </a:xfrm>
            <a:solidFill>
              <a:srgbClr val="747373"/>
            </a:solidFill>
          </p:grpSpPr>
          <p:sp>
            <p:nvSpPr>
              <p:cNvPr id="129" name="Graphic 114">
                <a:extLst>
                  <a:ext uri="{FF2B5EF4-FFF2-40B4-BE49-F238E27FC236}">
                    <a16:creationId xmlns:a16="http://schemas.microsoft.com/office/drawing/2014/main" id="{F9E241EA-268C-4D53-98A8-05A873B1DA8B}"/>
                  </a:ext>
                </a:extLst>
              </p:cNvPr>
              <p:cNvSpPr/>
              <p:nvPr/>
            </p:nvSpPr>
            <p:spPr>
              <a:xfrm>
                <a:off x="1603594"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7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7"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21"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30" name="Graphic 114">
                <a:extLst>
                  <a:ext uri="{FF2B5EF4-FFF2-40B4-BE49-F238E27FC236}">
                    <a16:creationId xmlns:a16="http://schemas.microsoft.com/office/drawing/2014/main" id="{CE997140-2B2D-4046-8D0F-1A05C16D06D5}"/>
                  </a:ext>
                </a:extLst>
              </p:cNvPr>
              <p:cNvSpPr/>
              <p:nvPr/>
            </p:nvSpPr>
            <p:spPr>
              <a:xfrm>
                <a:off x="163020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grpSp>
          <p:nvGrpSpPr>
            <p:cNvPr id="131" name="Graphic 114">
              <a:extLst>
                <a:ext uri="{FF2B5EF4-FFF2-40B4-BE49-F238E27FC236}">
                  <a16:creationId xmlns:a16="http://schemas.microsoft.com/office/drawing/2014/main" id="{37B8AE10-5827-4D06-97DB-13C32957F6A4}"/>
                </a:ext>
              </a:extLst>
            </p:cNvPr>
            <p:cNvGrpSpPr/>
            <p:nvPr/>
          </p:nvGrpSpPr>
          <p:grpSpPr>
            <a:xfrm>
              <a:off x="1600119" y="3919442"/>
              <a:ext cx="107244" cy="278183"/>
              <a:chOff x="1600119" y="3919442"/>
              <a:chExt cx="107244" cy="278183"/>
            </a:xfrm>
            <a:solidFill>
              <a:srgbClr val="747373"/>
            </a:solidFill>
          </p:grpSpPr>
          <p:sp>
            <p:nvSpPr>
              <p:cNvPr id="132" name="Graphic 114">
                <a:extLst>
                  <a:ext uri="{FF2B5EF4-FFF2-40B4-BE49-F238E27FC236}">
                    <a16:creationId xmlns:a16="http://schemas.microsoft.com/office/drawing/2014/main" id="{252113F9-D6A5-4C07-BD89-6492A8FC92BD}"/>
                  </a:ext>
                </a:extLst>
              </p:cNvPr>
              <p:cNvSpPr/>
              <p:nvPr/>
            </p:nvSpPr>
            <p:spPr>
              <a:xfrm>
                <a:off x="1600119" y="3968896"/>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7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2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8 w 107244"/>
                  <a:gd name="connsiteY16" fmla="*/ 210608 h 228729"/>
                  <a:gd name="connsiteX17" fmla="*/ 51968 w 107244"/>
                  <a:gd name="connsiteY17" fmla="*/ 118056 h 228729"/>
                  <a:gd name="connsiteX18" fmla="*/ 51968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9" y="2957"/>
                      <a:pt x="0" y="14563"/>
                      <a:pt x="0" y="32231"/>
                    </a:cubicBezTo>
                    <a:cubicBezTo>
                      <a:pt x="0" y="54260"/>
                      <a:pt x="0" y="76289"/>
                      <a:pt x="0" y="98245"/>
                    </a:cubicBezTo>
                    <a:cubicBezTo>
                      <a:pt x="0" y="106820"/>
                      <a:pt x="2661" y="110220"/>
                      <a:pt x="8797" y="110516"/>
                    </a:cubicBezTo>
                    <a:cubicBezTo>
                      <a:pt x="16115" y="110885"/>
                      <a:pt x="19812" y="107411"/>
                      <a:pt x="19885" y="99797"/>
                    </a:cubicBezTo>
                    <a:cubicBezTo>
                      <a:pt x="19959" y="81907"/>
                      <a:pt x="19885" y="64018"/>
                      <a:pt x="19959" y="46128"/>
                    </a:cubicBezTo>
                    <a:cubicBezTo>
                      <a:pt x="19959" y="44650"/>
                      <a:pt x="19959" y="43171"/>
                      <a:pt x="19959" y="41619"/>
                    </a:cubicBezTo>
                    <a:cubicBezTo>
                      <a:pt x="19959" y="39697"/>
                      <a:pt x="21660" y="38219"/>
                      <a:pt x="23582" y="38514"/>
                    </a:cubicBezTo>
                    <a:cubicBezTo>
                      <a:pt x="25282" y="38810"/>
                      <a:pt x="25725" y="40510"/>
                      <a:pt x="25725" y="43024"/>
                    </a:cubicBezTo>
                    <a:cubicBezTo>
                      <a:pt x="25578" y="55147"/>
                      <a:pt x="25725" y="67271"/>
                      <a:pt x="25725" y="79468"/>
                    </a:cubicBezTo>
                    <a:cubicBezTo>
                      <a:pt x="25725" y="123526"/>
                      <a:pt x="25725" y="167511"/>
                      <a:pt x="25725" y="211569"/>
                    </a:cubicBezTo>
                    <a:cubicBezTo>
                      <a:pt x="25725" y="213787"/>
                      <a:pt x="25725" y="216153"/>
                      <a:pt x="26243" y="218297"/>
                    </a:cubicBezTo>
                    <a:cubicBezTo>
                      <a:pt x="27721" y="224654"/>
                      <a:pt x="32452" y="228572"/>
                      <a:pt x="38366" y="228720"/>
                    </a:cubicBezTo>
                    <a:cubicBezTo>
                      <a:pt x="44502" y="228942"/>
                      <a:pt x="49603" y="225098"/>
                      <a:pt x="51229" y="218518"/>
                    </a:cubicBezTo>
                    <a:cubicBezTo>
                      <a:pt x="51894" y="215931"/>
                      <a:pt x="51968" y="213196"/>
                      <a:pt x="51968" y="210608"/>
                    </a:cubicBezTo>
                    <a:cubicBezTo>
                      <a:pt x="51968" y="179708"/>
                      <a:pt x="51968" y="148882"/>
                      <a:pt x="51968" y="118056"/>
                    </a:cubicBezTo>
                    <a:lnTo>
                      <a:pt x="51968" y="112512"/>
                    </a:lnTo>
                    <a:cubicBezTo>
                      <a:pt x="51968"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30" y="38145"/>
                      <a:pt x="87230" y="39697"/>
                      <a:pt x="87230" y="41619"/>
                    </a:cubicBezTo>
                    <a:cubicBezTo>
                      <a:pt x="87230" y="43171"/>
                      <a:pt x="87230" y="44650"/>
                      <a:pt x="87230" y="46128"/>
                    </a:cubicBezTo>
                    <a:cubicBezTo>
                      <a:pt x="87230" y="64018"/>
                      <a:pt x="87156" y="81907"/>
                      <a:pt x="87304" y="99797"/>
                    </a:cubicBezTo>
                    <a:cubicBezTo>
                      <a:pt x="87304"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33" name="Graphic 114">
                <a:extLst>
                  <a:ext uri="{FF2B5EF4-FFF2-40B4-BE49-F238E27FC236}">
                    <a16:creationId xmlns:a16="http://schemas.microsoft.com/office/drawing/2014/main" id="{C3492C43-C2EA-43A6-8552-013BD70D0F6F}"/>
                  </a:ext>
                </a:extLst>
              </p:cNvPr>
              <p:cNvSpPr/>
              <p:nvPr/>
            </p:nvSpPr>
            <p:spPr>
              <a:xfrm>
                <a:off x="1631759" y="3919442"/>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6" y="44058"/>
                      <a:pt x="22029" y="44058"/>
                    </a:cubicBezTo>
                    <a:cubicBezTo>
                      <a:pt x="9863" y="44058"/>
                      <a:pt x="0" y="34196"/>
                      <a:pt x="0" y="22029"/>
                    </a:cubicBezTo>
                    <a:cubicBezTo>
                      <a:pt x="0" y="9863"/>
                      <a:pt x="9863" y="0"/>
                      <a:pt x="22029" y="0"/>
                    </a:cubicBezTo>
                    <a:cubicBezTo>
                      <a:pt x="34196"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sp>
          <p:nvSpPr>
            <p:cNvPr id="134" name="Graphic 114">
              <a:extLst>
                <a:ext uri="{FF2B5EF4-FFF2-40B4-BE49-F238E27FC236}">
                  <a16:creationId xmlns:a16="http://schemas.microsoft.com/office/drawing/2014/main" id="{37CEB056-828D-4B81-A0A7-CB3D4A04DCE7}"/>
                </a:ext>
              </a:extLst>
            </p:cNvPr>
            <p:cNvSpPr/>
            <p:nvPr/>
          </p:nvSpPr>
          <p:spPr>
            <a:xfrm>
              <a:off x="1697107" y="4322473"/>
              <a:ext cx="85880" cy="192507"/>
            </a:xfrm>
            <a:custGeom>
              <a:avLst/>
              <a:gdLst>
                <a:gd name="connsiteX0" fmla="*/ 63131 w 85880"/>
                <a:gd name="connsiteY0" fmla="*/ 1183 h 192507"/>
                <a:gd name="connsiteX1" fmla="*/ 40510 w 85880"/>
                <a:gd name="connsiteY1" fmla="*/ 0 h 192507"/>
                <a:gd name="connsiteX2" fmla="*/ 17890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5" y="517"/>
                    <a:pt x="48050" y="74"/>
                    <a:pt x="40510" y="0"/>
                  </a:cubicBezTo>
                  <a:cubicBezTo>
                    <a:pt x="32970" y="74"/>
                    <a:pt x="25356" y="444"/>
                    <a:pt x="17890"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9"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8" y="192349"/>
                    <a:pt x="62539" y="189023"/>
                    <a:pt x="63796" y="183700"/>
                  </a:cubicBezTo>
                  <a:cubicBezTo>
                    <a:pt x="64240" y="181852"/>
                    <a:pt x="64240" y="179930"/>
                    <a:pt x="64240" y="178008"/>
                  </a:cubicBezTo>
                  <a:cubicBezTo>
                    <a:pt x="64240" y="140972"/>
                    <a:pt x="64240" y="103937"/>
                    <a:pt x="64240" y="66827"/>
                  </a:cubicBezTo>
                  <a:cubicBezTo>
                    <a:pt x="64240" y="56626"/>
                    <a:pt x="64314"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7" y="12271"/>
                    <a:pt x="78063"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35" name="Graphic 114">
              <a:extLst>
                <a:ext uri="{FF2B5EF4-FFF2-40B4-BE49-F238E27FC236}">
                  <a16:creationId xmlns:a16="http://schemas.microsoft.com/office/drawing/2014/main" id="{CF3618D6-F393-41A3-97B5-1906A507F93E}"/>
                </a:ext>
              </a:extLst>
            </p:cNvPr>
            <p:cNvSpPr/>
            <p:nvPr/>
          </p:nvSpPr>
          <p:spPr>
            <a:xfrm>
              <a:off x="1513925"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7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7"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86"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36" name="Graphic 114">
              <a:extLst>
                <a:ext uri="{FF2B5EF4-FFF2-40B4-BE49-F238E27FC236}">
                  <a16:creationId xmlns:a16="http://schemas.microsoft.com/office/drawing/2014/main" id="{8E860BEC-ED62-46BE-B711-54C8895774EF}"/>
                </a:ext>
              </a:extLst>
            </p:cNvPr>
            <p:cNvSpPr/>
            <p:nvPr/>
          </p:nvSpPr>
          <p:spPr>
            <a:xfrm>
              <a:off x="1920431"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37" name="Graphic 114">
              <a:extLst>
                <a:ext uri="{FF2B5EF4-FFF2-40B4-BE49-F238E27FC236}">
                  <a16:creationId xmlns:a16="http://schemas.microsoft.com/office/drawing/2014/main" id="{A0FF59B3-9684-4893-AE89-8F2A1B4E1761}"/>
                </a:ext>
              </a:extLst>
            </p:cNvPr>
            <p:cNvSpPr/>
            <p:nvPr/>
          </p:nvSpPr>
          <p:spPr>
            <a:xfrm>
              <a:off x="2098882"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38" name="Graphic 114">
              <a:extLst>
                <a:ext uri="{FF2B5EF4-FFF2-40B4-BE49-F238E27FC236}">
                  <a16:creationId xmlns:a16="http://schemas.microsoft.com/office/drawing/2014/main" id="{DFEA016A-A701-4E4F-AAA8-16B213D47537}"/>
                </a:ext>
              </a:extLst>
            </p:cNvPr>
            <p:cNvGrpSpPr/>
            <p:nvPr/>
          </p:nvGrpSpPr>
          <p:grpSpPr>
            <a:xfrm>
              <a:off x="1983414" y="4280854"/>
              <a:ext cx="90390" cy="234274"/>
              <a:chOff x="1983414" y="4280854"/>
              <a:chExt cx="90390" cy="234274"/>
            </a:xfrm>
            <a:solidFill>
              <a:srgbClr val="747373"/>
            </a:solidFill>
          </p:grpSpPr>
          <p:sp>
            <p:nvSpPr>
              <p:cNvPr id="139" name="Graphic 114">
                <a:extLst>
                  <a:ext uri="{FF2B5EF4-FFF2-40B4-BE49-F238E27FC236}">
                    <a16:creationId xmlns:a16="http://schemas.microsoft.com/office/drawing/2014/main" id="{83835E74-C52C-4238-83E0-506BA3152AD1}"/>
                  </a:ext>
                </a:extLst>
              </p:cNvPr>
              <p:cNvSpPr/>
              <p:nvPr/>
            </p:nvSpPr>
            <p:spPr>
              <a:xfrm>
                <a:off x="1983414"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7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7"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94"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40" name="Graphic 114">
                <a:extLst>
                  <a:ext uri="{FF2B5EF4-FFF2-40B4-BE49-F238E27FC236}">
                    <a16:creationId xmlns:a16="http://schemas.microsoft.com/office/drawing/2014/main" id="{E23F08DA-CE3B-4170-8F2A-67571080C947}"/>
                  </a:ext>
                </a:extLst>
              </p:cNvPr>
              <p:cNvSpPr/>
              <p:nvPr/>
            </p:nvSpPr>
            <p:spPr>
              <a:xfrm>
                <a:off x="201002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sp>
          <p:nvSpPr>
            <p:cNvPr id="141" name="Graphic 114">
              <a:extLst>
                <a:ext uri="{FF2B5EF4-FFF2-40B4-BE49-F238E27FC236}">
                  <a16:creationId xmlns:a16="http://schemas.microsoft.com/office/drawing/2014/main" id="{21D0787B-2E34-40C7-9D05-0F82447BE8BE}"/>
                </a:ext>
              </a:extLst>
            </p:cNvPr>
            <p:cNvSpPr/>
            <p:nvPr/>
          </p:nvSpPr>
          <p:spPr>
            <a:xfrm>
              <a:off x="2076927" y="4322473"/>
              <a:ext cx="85880" cy="192507"/>
            </a:xfrm>
            <a:custGeom>
              <a:avLst/>
              <a:gdLst>
                <a:gd name="connsiteX0" fmla="*/ 63131 w 85880"/>
                <a:gd name="connsiteY0" fmla="*/ 1183 h 192507"/>
                <a:gd name="connsiteX1" fmla="*/ 40510 w 85880"/>
                <a:gd name="connsiteY1" fmla="*/ 0 h 192507"/>
                <a:gd name="connsiteX2" fmla="*/ 17890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4" y="517"/>
                    <a:pt x="48050" y="74"/>
                    <a:pt x="40510" y="0"/>
                  </a:cubicBezTo>
                  <a:cubicBezTo>
                    <a:pt x="32970" y="74"/>
                    <a:pt x="25356" y="444"/>
                    <a:pt x="17890"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8"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8" y="192349"/>
                    <a:pt x="62539" y="189023"/>
                    <a:pt x="63796" y="183700"/>
                  </a:cubicBezTo>
                  <a:cubicBezTo>
                    <a:pt x="64240" y="181852"/>
                    <a:pt x="64240" y="179930"/>
                    <a:pt x="64240" y="178008"/>
                  </a:cubicBezTo>
                  <a:cubicBezTo>
                    <a:pt x="64240" y="140972"/>
                    <a:pt x="64240" y="103937"/>
                    <a:pt x="64240" y="66827"/>
                  </a:cubicBezTo>
                  <a:cubicBezTo>
                    <a:pt x="64240" y="56626"/>
                    <a:pt x="64314"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7" y="12271"/>
                    <a:pt x="78137"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42" name="Graphic 114">
              <a:extLst>
                <a:ext uri="{FF2B5EF4-FFF2-40B4-BE49-F238E27FC236}">
                  <a16:creationId xmlns:a16="http://schemas.microsoft.com/office/drawing/2014/main" id="{1A843939-8396-4B6A-A0E1-C711DE615639}"/>
                </a:ext>
              </a:extLst>
            </p:cNvPr>
            <p:cNvSpPr/>
            <p:nvPr/>
          </p:nvSpPr>
          <p:spPr>
            <a:xfrm>
              <a:off x="1893818"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8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8"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12"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43" name="Graphic 114">
              <a:extLst>
                <a:ext uri="{FF2B5EF4-FFF2-40B4-BE49-F238E27FC236}">
                  <a16:creationId xmlns:a16="http://schemas.microsoft.com/office/drawing/2014/main" id="{36AA20FA-8CED-40DC-A7D1-FBA4D9BC3014}"/>
                </a:ext>
              </a:extLst>
            </p:cNvPr>
            <p:cNvSpPr/>
            <p:nvPr/>
          </p:nvSpPr>
          <p:spPr>
            <a:xfrm>
              <a:off x="2292341"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44" name="Graphic 114">
              <a:extLst>
                <a:ext uri="{FF2B5EF4-FFF2-40B4-BE49-F238E27FC236}">
                  <a16:creationId xmlns:a16="http://schemas.microsoft.com/office/drawing/2014/main" id="{FE4008D1-21A6-4852-A210-74AEE9B90EA7}"/>
                </a:ext>
              </a:extLst>
            </p:cNvPr>
            <p:cNvSpPr/>
            <p:nvPr/>
          </p:nvSpPr>
          <p:spPr>
            <a:xfrm>
              <a:off x="247086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45" name="Graphic 114">
              <a:extLst>
                <a:ext uri="{FF2B5EF4-FFF2-40B4-BE49-F238E27FC236}">
                  <a16:creationId xmlns:a16="http://schemas.microsoft.com/office/drawing/2014/main" id="{D857342F-712A-4A56-91DD-02C32DC839D8}"/>
                </a:ext>
              </a:extLst>
            </p:cNvPr>
            <p:cNvGrpSpPr/>
            <p:nvPr/>
          </p:nvGrpSpPr>
          <p:grpSpPr>
            <a:xfrm>
              <a:off x="2355397" y="4280854"/>
              <a:ext cx="90390" cy="234274"/>
              <a:chOff x="2355397" y="4280854"/>
              <a:chExt cx="90390" cy="234274"/>
            </a:xfrm>
            <a:solidFill>
              <a:srgbClr val="747373"/>
            </a:solidFill>
          </p:grpSpPr>
          <p:sp>
            <p:nvSpPr>
              <p:cNvPr id="146" name="Graphic 114">
                <a:extLst>
                  <a:ext uri="{FF2B5EF4-FFF2-40B4-BE49-F238E27FC236}">
                    <a16:creationId xmlns:a16="http://schemas.microsoft.com/office/drawing/2014/main" id="{20AFF139-1FAC-4E77-A0D1-2851749EFB8A}"/>
                  </a:ext>
                </a:extLst>
              </p:cNvPr>
              <p:cNvSpPr/>
              <p:nvPr/>
            </p:nvSpPr>
            <p:spPr>
              <a:xfrm>
                <a:off x="2355397"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8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8"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21"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47" name="Graphic 114">
                <a:extLst>
                  <a:ext uri="{FF2B5EF4-FFF2-40B4-BE49-F238E27FC236}">
                    <a16:creationId xmlns:a16="http://schemas.microsoft.com/office/drawing/2014/main" id="{3CEAF48E-5EBE-4368-BC56-8895124ADD2F}"/>
                  </a:ext>
                </a:extLst>
              </p:cNvPr>
              <p:cNvSpPr/>
              <p:nvPr/>
            </p:nvSpPr>
            <p:spPr>
              <a:xfrm>
                <a:off x="2382010"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sp>
          <p:nvSpPr>
            <p:cNvPr id="148" name="Graphic 114">
              <a:extLst>
                <a:ext uri="{FF2B5EF4-FFF2-40B4-BE49-F238E27FC236}">
                  <a16:creationId xmlns:a16="http://schemas.microsoft.com/office/drawing/2014/main" id="{4161D80A-927A-4268-8576-F2B3907445CB}"/>
                </a:ext>
              </a:extLst>
            </p:cNvPr>
            <p:cNvSpPr/>
            <p:nvPr/>
          </p:nvSpPr>
          <p:spPr>
            <a:xfrm>
              <a:off x="2448911" y="4322473"/>
              <a:ext cx="85880" cy="192507"/>
            </a:xfrm>
            <a:custGeom>
              <a:avLst/>
              <a:gdLst>
                <a:gd name="connsiteX0" fmla="*/ 63131 w 85880"/>
                <a:gd name="connsiteY0" fmla="*/ 1183 h 192507"/>
                <a:gd name="connsiteX1" fmla="*/ 40510 w 85880"/>
                <a:gd name="connsiteY1" fmla="*/ 0 h 192507"/>
                <a:gd name="connsiteX2" fmla="*/ 17889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4" y="517"/>
                    <a:pt x="48050" y="74"/>
                    <a:pt x="40510" y="0"/>
                  </a:cubicBezTo>
                  <a:cubicBezTo>
                    <a:pt x="32970" y="74"/>
                    <a:pt x="25356" y="444"/>
                    <a:pt x="17889"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9"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7" y="192349"/>
                    <a:pt x="62539" y="189023"/>
                    <a:pt x="63796" y="183700"/>
                  </a:cubicBezTo>
                  <a:cubicBezTo>
                    <a:pt x="64240" y="181852"/>
                    <a:pt x="64240" y="179930"/>
                    <a:pt x="64240" y="178008"/>
                  </a:cubicBezTo>
                  <a:cubicBezTo>
                    <a:pt x="64240" y="140972"/>
                    <a:pt x="64240" y="103937"/>
                    <a:pt x="64240" y="66827"/>
                  </a:cubicBezTo>
                  <a:cubicBezTo>
                    <a:pt x="64240" y="56626"/>
                    <a:pt x="64313"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8" y="12271"/>
                    <a:pt x="78063"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49" name="Graphic 114">
              <a:extLst>
                <a:ext uri="{FF2B5EF4-FFF2-40B4-BE49-F238E27FC236}">
                  <a16:creationId xmlns:a16="http://schemas.microsoft.com/office/drawing/2014/main" id="{E8C315D9-0F75-45C2-B478-99FB45F29077}"/>
                </a:ext>
              </a:extLst>
            </p:cNvPr>
            <p:cNvSpPr/>
            <p:nvPr/>
          </p:nvSpPr>
          <p:spPr>
            <a:xfrm>
              <a:off x="2265728"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8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8"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12"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50" name="Graphic 114">
              <a:extLst>
                <a:ext uri="{FF2B5EF4-FFF2-40B4-BE49-F238E27FC236}">
                  <a16:creationId xmlns:a16="http://schemas.microsoft.com/office/drawing/2014/main" id="{106FCB77-24BB-4F06-A4CD-023770C714C8}"/>
                </a:ext>
              </a:extLst>
            </p:cNvPr>
            <p:cNvSpPr/>
            <p:nvPr/>
          </p:nvSpPr>
          <p:spPr>
            <a:xfrm>
              <a:off x="1650092" y="3867547"/>
              <a:ext cx="754169" cy="36296"/>
            </a:xfrm>
            <a:custGeom>
              <a:avLst/>
              <a:gdLst>
                <a:gd name="connsiteX0" fmla="*/ 754169 w 754169"/>
                <a:gd name="connsiteY0" fmla="*/ 36297 h 36296"/>
                <a:gd name="connsiteX1" fmla="*/ 746777 w 754169"/>
                <a:gd name="connsiteY1" fmla="*/ 36297 h 36296"/>
                <a:gd name="connsiteX2" fmla="*/ 746777 w 754169"/>
                <a:gd name="connsiteY2" fmla="*/ 7392 h 36296"/>
                <a:gd name="connsiteX3" fmla="*/ 7392 w 754169"/>
                <a:gd name="connsiteY3" fmla="*/ 7392 h 36296"/>
                <a:gd name="connsiteX4" fmla="*/ 7392 w 754169"/>
                <a:gd name="connsiteY4" fmla="*/ 36297 h 36296"/>
                <a:gd name="connsiteX5" fmla="*/ 0 w 754169"/>
                <a:gd name="connsiteY5" fmla="*/ 36297 h 36296"/>
                <a:gd name="connsiteX6" fmla="*/ 0 w 754169"/>
                <a:gd name="connsiteY6" fmla="*/ 0 h 36296"/>
                <a:gd name="connsiteX7" fmla="*/ 754169 w 754169"/>
                <a:gd name="connsiteY7"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169" h="36296">
                  <a:moveTo>
                    <a:pt x="754169" y="36297"/>
                  </a:moveTo>
                  <a:lnTo>
                    <a:pt x="746777" y="36297"/>
                  </a:lnTo>
                  <a:lnTo>
                    <a:pt x="746777" y="7392"/>
                  </a:lnTo>
                  <a:lnTo>
                    <a:pt x="7392" y="7392"/>
                  </a:lnTo>
                  <a:lnTo>
                    <a:pt x="7392" y="36297"/>
                  </a:lnTo>
                  <a:lnTo>
                    <a:pt x="0" y="36297"/>
                  </a:lnTo>
                  <a:lnTo>
                    <a:pt x="0" y="0"/>
                  </a:lnTo>
                  <a:lnTo>
                    <a:pt x="754169" y="0"/>
                  </a:lnTo>
                  <a:close/>
                </a:path>
              </a:pathLst>
            </a:custGeom>
            <a:solidFill>
              <a:srgbClr val="747373"/>
            </a:solidFill>
            <a:ln w="7388" cap="flat">
              <a:noFill/>
              <a:prstDash val="solid"/>
              <a:miter/>
            </a:ln>
          </p:spPr>
          <p:txBody>
            <a:bodyPr rtlCol="0" anchor="ctr"/>
            <a:lstStyle/>
            <a:p>
              <a:endParaRPr lang="nl-NL" sz="5000"/>
            </a:p>
          </p:txBody>
        </p:sp>
        <p:sp>
          <p:nvSpPr>
            <p:cNvPr id="151" name="Graphic 114">
              <a:extLst>
                <a:ext uri="{FF2B5EF4-FFF2-40B4-BE49-F238E27FC236}">
                  <a16:creationId xmlns:a16="http://schemas.microsoft.com/office/drawing/2014/main" id="{347BFD2B-596A-42B4-AFE5-A42CC86AC1BE}"/>
                </a:ext>
              </a:extLst>
            </p:cNvPr>
            <p:cNvSpPr/>
            <p:nvPr/>
          </p:nvSpPr>
          <p:spPr>
            <a:xfrm>
              <a:off x="2024885" y="3831768"/>
              <a:ext cx="7392" cy="72075"/>
            </a:xfrm>
            <a:custGeom>
              <a:avLst/>
              <a:gdLst>
                <a:gd name="connsiteX0" fmla="*/ 0 w 7392"/>
                <a:gd name="connsiteY0" fmla="*/ 0 h 72075"/>
                <a:gd name="connsiteX1" fmla="*/ 7392 w 7392"/>
                <a:gd name="connsiteY1" fmla="*/ 0 h 72075"/>
                <a:gd name="connsiteX2" fmla="*/ 7392 w 7392"/>
                <a:gd name="connsiteY2" fmla="*/ 72076 h 72075"/>
                <a:gd name="connsiteX3" fmla="*/ 0 w 7392"/>
                <a:gd name="connsiteY3" fmla="*/ 72076 h 72075"/>
              </a:gdLst>
              <a:ahLst/>
              <a:cxnLst>
                <a:cxn ang="0">
                  <a:pos x="connsiteX0" y="connsiteY0"/>
                </a:cxn>
                <a:cxn ang="0">
                  <a:pos x="connsiteX1" y="connsiteY1"/>
                </a:cxn>
                <a:cxn ang="0">
                  <a:pos x="connsiteX2" y="connsiteY2"/>
                </a:cxn>
                <a:cxn ang="0">
                  <a:pos x="connsiteX3" y="connsiteY3"/>
                </a:cxn>
              </a:cxnLst>
              <a:rect l="l" t="t" r="r" b="b"/>
              <a:pathLst>
                <a:path w="7392" h="72075">
                  <a:moveTo>
                    <a:pt x="0" y="0"/>
                  </a:moveTo>
                  <a:lnTo>
                    <a:pt x="7392" y="0"/>
                  </a:lnTo>
                  <a:lnTo>
                    <a:pt x="7392" y="72076"/>
                  </a:lnTo>
                  <a:lnTo>
                    <a:pt x="0" y="72076"/>
                  </a:lnTo>
                  <a:close/>
                </a:path>
              </a:pathLst>
            </a:custGeom>
            <a:solidFill>
              <a:srgbClr val="747373"/>
            </a:solidFill>
            <a:ln w="7388" cap="flat">
              <a:noFill/>
              <a:prstDash val="solid"/>
              <a:miter/>
            </a:ln>
          </p:spPr>
          <p:txBody>
            <a:bodyPr rtlCol="0" anchor="ctr"/>
            <a:lstStyle/>
            <a:p>
              <a:endParaRPr lang="nl-NL" sz="5000"/>
            </a:p>
          </p:txBody>
        </p:sp>
        <p:sp>
          <p:nvSpPr>
            <p:cNvPr id="152" name="Graphic 114">
              <a:extLst>
                <a:ext uri="{FF2B5EF4-FFF2-40B4-BE49-F238E27FC236}">
                  <a16:creationId xmlns:a16="http://schemas.microsoft.com/office/drawing/2014/main" id="{1D56F2F9-76EE-4D9C-8788-86A7683C414A}"/>
                </a:ext>
              </a:extLst>
            </p:cNvPr>
            <p:cNvSpPr/>
            <p:nvPr/>
          </p:nvSpPr>
          <p:spPr>
            <a:xfrm>
              <a:off x="2024885"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sp>
          <p:nvSpPr>
            <p:cNvPr id="153" name="Graphic 114">
              <a:extLst>
                <a:ext uri="{FF2B5EF4-FFF2-40B4-BE49-F238E27FC236}">
                  <a16:creationId xmlns:a16="http://schemas.microsoft.com/office/drawing/2014/main" id="{E099DD9E-2D78-4AAC-A8F5-02A399FB95CF}"/>
                </a:ext>
              </a:extLst>
            </p:cNvPr>
            <p:cNvSpPr/>
            <p:nvPr/>
          </p:nvSpPr>
          <p:spPr>
            <a:xfrm>
              <a:off x="1650092"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sp>
          <p:nvSpPr>
            <p:cNvPr id="154" name="Graphic 114">
              <a:extLst>
                <a:ext uri="{FF2B5EF4-FFF2-40B4-BE49-F238E27FC236}">
                  <a16:creationId xmlns:a16="http://schemas.microsoft.com/office/drawing/2014/main" id="{89287C1F-8FBD-4EB9-9609-AB114FEE9EAD}"/>
                </a:ext>
              </a:extLst>
            </p:cNvPr>
            <p:cNvSpPr/>
            <p:nvPr/>
          </p:nvSpPr>
          <p:spPr>
            <a:xfrm>
              <a:off x="2394577"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grpSp>
      <p:grpSp>
        <p:nvGrpSpPr>
          <p:cNvPr id="156" name="Graphic 114">
            <a:extLst>
              <a:ext uri="{FF2B5EF4-FFF2-40B4-BE49-F238E27FC236}">
                <a16:creationId xmlns:a16="http://schemas.microsoft.com/office/drawing/2014/main" id="{DE067329-6A3B-478A-ABAD-43BEFB8E898E}"/>
              </a:ext>
            </a:extLst>
          </p:cNvPr>
          <p:cNvGrpSpPr/>
          <p:nvPr/>
        </p:nvGrpSpPr>
        <p:grpSpPr>
          <a:xfrm>
            <a:off x="9253637" y="5922310"/>
            <a:ext cx="125994" cy="278028"/>
            <a:chOff x="9560869" y="4378507"/>
            <a:chExt cx="125994" cy="278028"/>
          </a:xfrm>
          <a:solidFill>
            <a:srgbClr val="747373"/>
          </a:solidFill>
        </p:grpSpPr>
        <p:sp>
          <p:nvSpPr>
            <p:cNvPr id="157" name="Graphic 114">
              <a:extLst>
                <a:ext uri="{FF2B5EF4-FFF2-40B4-BE49-F238E27FC236}">
                  <a16:creationId xmlns:a16="http://schemas.microsoft.com/office/drawing/2014/main" id="{396A712E-9CA2-4E83-A2E2-6F81B5F9CE2A}"/>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158" name="Graphic 114">
              <a:extLst>
                <a:ext uri="{FF2B5EF4-FFF2-40B4-BE49-F238E27FC236}">
                  <a16:creationId xmlns:a16="http://schemas.microsoft.com/office/drawing/2014/main" id="{D397F3C6-3442-4780-BBC6-975DC17E568E}"/>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59" name="Graphic 114">
            <a:extLst>
              <a:ext uri="{FF2B5EF4-FFF2-40B4-BE49-F238E27FC236}">
                <a16:creationId xmlns:a16="http://schemas.microsoft.com/office/drawing/2014/main" id="{89D1264E-E871-4C25-890A-D3F1738345BC}"/>
              </a:ext>
            </a:extLst>
          </p:cNvPr>
          <p:cNvGrpSpPr/>
          <p:nvPr/>
        </p:nvGrpSpPr>
        <p:grpSpPr>
          <a:xfrm>
            <a:off x="9105656" y="5921054"/>
            <a:ext cx="107244" cy="278257"/>
            <a:chOff x="9412888" y="4377251"/>
            <a:chExt cx="107244" cy="278257"/>
          </a:xfrm>
          <a:solidFill>
            <a:srgbClr val="747373"/>
          </a:solidFill>
        </p:grpSpPr>
        <p:sp>
          <p:nvSpPr>
            <p:cNvPr id="160" name="Graphic 114">
              <a:extLst>
                <a:ext uri="{FF2B5EF4-FFF2-40B4-BE49-F238E27FC236}">
                  <a16:creationId xmlns:a16="http://schemas.microsoft.com/office/drawing/2014/main" id="{E861F28C-2384-41D6-A51D-36B704173255}"/>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61" name="Graphic 114">
              <a:extLst>
                <a:ext uri="{FF2B5EF4-FFF2-40B4-BE49-F238E27FC236}">
                  <a16:creationId xmlns:a16="http://schemas.microsoft.com/office/drawing/2014/main" id="{0F871374-5251-4B84-9A03-C4EF309F5C76}"/>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162" name="Graphic 114">
            <a:extLst>
              <a:ext uri="{FF2B5EF4-FFF2-40B4-BE49-F238E27FC236}">
                <a16:creationId xmlns:a16="http://schemas.microsoft.com/office/drawing/2014/main" id="{A28172AE-F645-4168-B7C1-0EBFB7FBAAAF}"/>
              </a:ext>
            </a:extLst>
          </p:cNvPr>
          <p:cNvGrpSpPr/>
          <p:nvPr/>
        </p:nvGrpSpPr>
        <p:grpSpPr>
          <a:xfrm>
            <a:off x="9568625" y="5922310"/>
            <a:ext cx="125994" cy="278028"/>
            <a:chOff x="9875857" y="4378507"/>
            <a:chExt cx="125994" cy="278028"/>
          </a:xfrm>
          <a:solidFill>
            <a:srgbClr val="747373"/>
          </a:solidFill>
        </p:grpSpPr>
        <p:sp>
          <p:nvSpPr>
            <p:cNvPr id="163" name="Graphic 114">
              <a:extLst>
                <a:ext uri="{FF2B5EF4-FFF2-40B4-BE49-F238E27FC236}">
                  <a16:creationId xmlns:a16="http://schemas.microsoft.com/office/drawing/2014/main" id="{C3EBC130-A787-4D11-B34B-A6ABD709944B}"/>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164" name="Graphic 114">
              <a:extLst>
                <a:ext uri="{FF2B5EF4-FFF2-40B4-BE49-F238E27FC236}">
                  <a16:creationId xmlns:a16="http://schemas.microsoft.com/office/drawing/2014/main" id="{7E38C996-CE50-4185-B282-B6479BE7BF32}"/>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65" name="Graphic 114">
            <a:extLst>
              <a:ext uri="{FF2B5EF4-FFF2-40B4-BE49-F238E27FC236}">
                <a16:creationId xmlns:a16="http://schemas.microsoft.com/office/drawing/2014/main" id="{AD07D792-BEFB-4680-A4AE-13E401D42A07}"/>
              </a:ext>
            </a:extLst>
          </p:cNvPr>
          <p:cNvGrpSpPr/>
          <p:nvPr/>
        </p:nvGrpSpPr>
        <p:grpSpPr>
          <a:xfrm>
            <a:off x="9420645" y="5921054"/>
            <a:ext cx="107244" cy="278257"/>
            <a:chOff x="9727877" y="4377251"/>
            <a:chExt cx="107244" cy="278257"/>
          </a:xfrm>
          <a:solidFill>
            <a:srgbClr val="747373"/>
          </a:solidFill>
        </p:grpSpPr>
        <p:sp>
          <p:nvSpPr>
            <p:cNvPr id="166" name="Graphic 114">
              <a:extLst>
                <a:ext uri="{FF2B5EF4-FFF2-40B4-BE49-F238E27FC236}">
                  <a16:creationId xmlns:a16="http://schemas.microsoft.com/office/drawing/2014/main" id="{21A66094-9F10-414D-9793-C65E114B156F}"/>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67" name="Graphic 114">
              <a:extLst>
                <a:ext uri="{FF2B5EF4-FFF2-40B4-BE49-F238E27FC236}">
                  <a16:creationId xmlns:a16="http://schemas.microsoft.com/office/drawing/2014/main" id="{48FC236E-CB50-4629-A745-4D152D8F49E1}"/>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168" name="Graphic 114">
            <a:extLst>
              <a:ext uri="{FF2B5EF4-FFF2-40B4-BE49-F238E27FC236}">
                <a16:creationId xmlns:a16="http://schemas.microsoft.com/office/drawing/2014/main" id="{2480DD7E-A370-41D3-8132-49E6ED758FE8}"/>
              </a:ext>
            </a:extLst>
          </p:cNvPr>
          <p:cNvGrpSpPr/>
          <p:nvPr/>
        </p:nvGrpSpPr>
        <p:grpSpPr>
          <a:xfrm>
            <a:off x="9735633" y="5921054"/>
            <a:ext cx="107244" cy="278257"/>
            <a:chOff x="10042865" y="4377251"/>
            <a:chExt cx="107244" cy="278257"/>
          </a:xfrm>
          <a:solidFill>
            <a:srgbClr val="747373"/>
          </a:solidFill>
        </p:grpSpPr>
        <p:sp>
          <p:nvSpPr>
            <p:cNvPr id="169" name="Graphic 114">
              <a:extLst>
                <a:ext uri="{FF2B5EF4-FFF2-40B4-BE49-F238E27FC236}">
                  <a16:creationId xmlns:a16="http://schemas.microsoft.com/office/drawing/2014/main" id="{F1115816-9C31-493D-A5AB-124DEE1EB844}"/>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70" name="Graphic 114">
              <a:extLst>
                <a:ext uri="{FF2B5EF4-FFF2-40B4-BE49-F238E27FC236}">
                  <a16:creationId xmlns:a16="http://schemas.microsoft.com/office/drawing/2014/main" id="{756CC270-FEAA-4371-BECB-CE9442F4DB94}"/>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41" name="Groep 40">
            <a:extLst>
              <a:ext uri="{FF2B5EF4-FFF2-40B4-BE49-F238E27FC236}">
                <a16:creationId xmlns:a16="http://schemas.microsoft.com/office/drawing/2014/main" id="{6EF8612D-23F0-4C60-8B71-F9D5EC313352}"/>
              </a:ext>
            </a:extLst>
          </p:cNvPr>
          <p:cNvGrpSpPr/>
          <p:nvPr/>
        </p:nvGrpSpPr>
        <p:grpSpPr>
          <a:xfrm>
            <a:off x="152593" y="2163294"/>
            <a:ext cx="10140588" cy="537615"/>
            <a:chOff x="1025706" y="1770285"/>
            <a:chExt cx="10140588" cy="891449"/>
          </a:xfrm>
        </p:grpSpPr>
        <p:sp>
          <p:nvSpPr>
            <p:cNvPr id="215" name="Vrije vorm: vorm 214">
              <a:extLst>
                <a:ext uri="{FF2B5EF4-FFF2-40B4-BE49-F238E27FC236}">
                  <a16:creationId xmlns:a16="http://schemas.microsoft.com/office/drawing/2014/main" id="{D4D21D26-CF9D-4600-8935-4291C8C1135F}"/>
                </a:ext>
              </a:extLst>
            </p:cNvPr>
            <p:cNvSpPr/>
            <p:nvPr/>
          </p:nvSpPr>
          <p:spPr>
            <a:xfrm>
              <a:off x="1025706" y="1770285"/>
              <a:ext cx="10140588" cy="891449"/>
            </a:xfrm>
            <a:custGeom>
              <a:avLst/>
              <a:gdLst>
                <a:gd name="connsiteX0" fmla="*/ 0 w 10140588"/>
                <a:gd name="connsiteY0" fmla="*/ 0 h 891449"/>
                <a:gd name="connsiteX1" fmla="*/ 10140588 w 10140588"/>
                <a:gd name="connsiteY1" fmla="*/ 0 h 891449"/>
                <a:gd name="connsiteX2" fmla="*/ 10140588 w 10140588"/>
                <a:gd name="connsiteY2" fmla="*/ 836693 h 891449"/>
                <a:gd name="connsiteX3" fmla="*/ 10085831 w 10140588"/>
                <a:gd name="connsiteY3" fmla="*/ 891449 h 891449"/>
                <a:gd name="connsiteX4" fmla="*/ 54756 w 10140588"/>
                <a:gd name="connsiteY4" fmla="*/ 891449 h 891449"/>
                <a:gd name="connsiteX5" fmla="*/ 0 w 10140588"/>
                <a:gd name="connsiteY5" fmla="*/ 836693 h 89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0588" h="891449">
                  <a:moveTo>
                    <a:pt x="0" y="0"/>
                  </a:moveTo>
                  <a:lnTo>
                    <a:pt x="10140588" y="0"/>
                  </a:lnTo>
                  <a:lnTo>
                    <a:pt x="10140588" y="836693"/>
                  </a:lnTo>
                  <a:cubicBezTo>
                    <a:pt x="10140588" y="866927"/>
                    <a:pt x="10116066" y="891449"/>
                    <a:pt x="10085831" y="891449"/>
                  </a:cubicBezTo>
                  <a:lnTo>
                    <a:pt x="54756" y="891449"/>
                  </a:lnTo>
                  <a:cubicBezTo>
                    <a:pt x="24522" y="891449"/>
                    <a:pt x="0" y="866927"/>
                    <a:pt x="0" y="836693"/>
                  </a:cubicBezTo>
                  <a:close/>
                </a:path>
              </a:pathLst>
            </a:custGeom>
            <a:solidFill>
              <a:srgbClr val="EA5A0B"/>
            </a:solidFill>
            <a:ln w="7614" cap="flat">
              <a:noFill/>
              <a:prstDash val="solid"/>
              <a:miter/>
            </a:ln>
            <a:effectLst>
              <a:outerShdw blurRad="50800" dist="38100" dir="5400000" algn="t" rotWithShape="0">
                <a:prstClr val="black">
                  <a:alpha val="30000"/>
                </a:prstClr>
              </a:outerShdw>
            </a:effectLst>
          </p:spPr>
          <p:txBody>
            <a:bodyPr wrap="square" rtlCol="0" anchor="ctr">
              <a:noAutofit/>
            </a:bodyPr>
            <a:lstStyle/>
            <a:p>
              <a:endParaRPr lang="nl-NL" sz="5000"/>
            </a:p>
          </p:txBody>
        </p:sp>
        <p:sp>
          <p:nvSpPr>
            <p:cNvPr id="15" name="Graphic 2">
              <a:extLst>
                <a:ext uri="{FF2B5EF4-FFF2-40B4-BE49-F238E27FC236}">
                  <a16:creationId xmlns:a16="http://schemas.microsoft.com/office/drawing/2014/main" id="{B6B8BB8C-8CBA-4BB1-BBF2-6DBC48F19090}"/>
                </a:ext>
              </a:extLst>
            </p:cNvPr>
            <p:cNvSpPr/>
            <p:nvPr/>
          </p:nvSpPr>
          <p:spPr>
            <a:xfrm>
              <a:off x="3054280"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19" name="Graphic 2">
              <a:extLst>
                <a:ext uri="{FF2B5EF4-FFF2-40B4-BE49-F238E27FC236}">
                  <a16:creationId xmlns:a16="http://schemas.microsoft.com/office/drawing/2014/main" id="{546A1CF3-44D7-47B1-BB20-B7E4B719331B}"/>
                </a:ext>
              </a:extLst>
            </p:cNvPr>
            <p:cNvSpPr/>
            <p:nvPr/>
          </p:nvSpPr>
          <p:spPr>
            <a:xfrm flipH="1">
              <a:off x="7093448"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21" name="Graphic 2">
              <a:extLst>
                <a:ext uri="{FF2B5EF4-FFF2-40B4-BE49-F238E27FC236}">
                  <a16:creationId xmlns:a16="http://schemas.microsoft.com/office/drawing/2014/main" id="{4DB51405-84C4-42F2-A66B-D33F4F467629}"/>
                </a:ext>
              </a:extLst>
            </p:cNvPr>
            <p:cNvSpPr/>
            <p:nvPr/>
          </p:nvSpPr>
          <p:spPr>
            <a:xfrm flipH="1">
              <a:off x="9137062"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23" name="Graphic 2">
              <a:extLst>
                <a:ext uri="{FF2B5EF4-FFF2-40B4-BE49-F238E27FC236}">
                  <a16:creationId xmlns:a16="http://schemas.microsoft.com/office/drawing/2014/main" id="{CA5B1E0D-A03C-4FCB-8E1C-2ECF49FD0A00}"/>
                </a:ext>
              </a:extLst>
            </p:cNvPr>
            <p:cNvSpPr/>
            <p:nvPr/>
          </p:nvSpPr>
          <p:spPr>
            <a:xfrm>
              <a:off x="5075881"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46" name="Graphic 2">
              <a:extLst>
                <a:ext uri="{FF2B5EF4-FFF2-40B4-BE49-F238E27FC236}">
                  <a16:creationId xmlns:a16="http://schemas.microsoft.com/office/drawing/2014/main" id="{7B11EA50-D6CC-413E-8162-778AA10A6023}"/>
                </a:ext>
              </a:extLst>
            </p:cNvPr>
            <p:cNvSpPr txBox="1"/>
            <p:nvPr/>
          </p:nvSpPr>
          <p:spPr>
            <a:xfrm>
              <a:off x="9524960"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Arbeidsmarkt</a:t>
              </a:r>
            </a:p>
          </p:txBody>
        </p:sp>
        <p:sp>
          <p:nvSpPr>
            <p:cNvPr id="49" name="Graphic 2">
              <a:extLst>
                <a:ext uri="{FF2B5EF4-FFF2-40B4-BE49-F238E27FC236}">
                  <a16:creationId xmlns:a16="http://schemas.microsoft.com/office/drawing/2014/main" id="{8A5BAA5D-8B66-4962-9015-35AAF28463C5}"/>
                </a:ext>
              </a:extLst>
            </p:cNvPr>
            <p:cNvSpPr txBox="1"/>
            <p:nvPr/>
          </p:nvSpPr>
          <p:spPr>
            <a:xfrm>
              <a:off x="7503561"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Bureaus</a:t>
              </a:r>
            </a:p>
          </p:txBody>
        </p:sp>
        <p:sp>
          <p:nvSpPr>
            <p:cNvPr id="51" name="Graphic 2">
              <a:extLst>
                <a:ext uri="{FF2B5EF4-FFF2-40B4-BE49-F238E27FC236}">
                  <a16:creationId xmlns:a16="http://schemas.microsoft.com/office/drawing/2014/main" id="{AB0BA5E2-05A6-4BEB-A288-C6B7D4BECF33}"/>
                </a:ext>
              </a:extLst>
            </p:cNvPr>
            <p:cNvSpPr txBox="1"/>
            <p:nvPr/>
          </p:nvSpPr>
          <p:spPr>
            <a:xfrm>
              <a:off x="5238544" y="2316490"/>
              <a:ext cx="1740754"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Dienstverleners extern</a:t>
              </a:r>
            </a:p>
          </p:txBody>
        </p:sp>
        <p:sp>
          <p:nvSpPr>
            <p:cNvPr id="53" name="Graphic 2">
              <a:extLst>
                <a:ext uri="{FF2B5EF4-FFF2-40B4-BE49-F238E27FC236}">
                  <a16:creationId xmlns:a16="http://schemas.microsoft.com/office/drawing/2014/main" id="{7EBEB908-8477-4CBB-A6B2-69BBD3D97BA7}"/>
                </a:ext>
              </a:extLst>
            </p:cNvPr>
            <p:cNvSpPr txBox="1"/>
            <p:nvPr/>
          </p:nvSpPr>
          <p:spPr>
            <a:xfrm>
              <a:off x="3133112" y="2316490"/>
              <a:ext cx="187292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Dienstverleners intern</a:t>
              </a:r>
            </a:p>
          </p:txBody>
        </p:sp>
        <p:sp>
          <p:nvSpPr>
            <p:cNvPr id="55" name="Graphic 2">
              <a:extLst>
                <a:ext uri="{FF2B5EF4-FFF2-40B4-BE49-F238E27FC236}">
                  <a16:creationId xmlns:a16="http://schemas.microsoft.com/office/drawing/2014/main" id="{DF313AE8-FFA1-4495-80F5-4DC1227A76E9}"/>
                </a:ext>
              </a:extLst>
            </p:cNvPr>
            <p:cNvSpPr txBox="1"/>
            <p:nvPr/>
          </p:nvSpPr>
          <p:spPr>
            <a:xfrm>
              <a:off x="1419247"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Behoefte</a:t>
              </a:r>
            </a:p>
          </p:txBody>
        </p:sp>
      </p:grpSp>
      <p:grpSp>
        <p:nvGrpSpPr>
          <p:cNvPr id="44" name="Groep 43">
            <a:extLst>
              <a:ext uri="{FF2B5EF4-FFF2-40B4-BE49-F238E27FC236}">
                <a16:creationId xmlns:a16="http://schemas.microsoft.com/office/drawing/2014/main" id="{9BC3D4F7-11D1-4EC2-8F91-BFA41F4C100B}"/>
              </a:ext>
            </a:extLst>
          </p:cNvPr>
          <p:cNvGrpSpPr/>
          <p:nvPr/>
        </p:nvGrpSpPr>
        <p:grpSpPr>
          <a:xfrm>
            <a:off x="964575" y="1985182"/>
            <a:ext cx="8517145" cy="425411"/>
            <a:chOff x="1837687" y="1798359"/>
            <a:chExt cx="8517145" cy="425411"/>
          </a:xfrm>
        </p:grpSpPr>
        <p:grpSp>
          <p:nvGrpSpPr>
            <p:cNvPr id="24" name="Graphic 2">
              <a:extLst>
                <a:ext uri="{FF2B5EF4-FFF2-40B4-BE49-F238E27FC236}">
                  <a16:creationId xmlns:a16="http://schemas.microsoft.com/office/drawing/2014/main" id="{F33CCEF0-5D18-4BCD-8830-F60958681D84}"/>
                </a:ext>
              </a:extLst>
            </p:cNvPr>
            <p:cNvGrpSpPr/>
            <p:nvPr/>
          </p:nvGrpSpPr>
          <p:grpSpPr>
            <a:xfrm>
              <a:off x="1837687" y="1798359"/>
              <a:ext cx="415505" cy="425411"/>
              <a:chOff x="1973955" y="1776325"/>
              <a:chExt cx="415505" cy="425411"/>
            </a:xfrm>
          </p:grpSpPr>
          <p:sp>
            <p:nvSpPr>
              <p:cNvPr id="25" name="Graphic 2">
                <a:extLst>
                  <a:ext uri="{FF2B5EF4-FFF2-40B4-BE49-F238E27FC236}">
                    <a16:creationId xmlns:a16="http://schemas.microsoft.com/office/drawing/2014/main" id="{9D9915E6-4C6F-4B10-85F1-421686D1C497}"/>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26" name="Graphic 2">
                <a:extLst>
                  <a:ext uri="{FF2B5EF4-FFF2-40B4-BE49-F238E27FC236}">
                    <a16:creationId xmlns:a16="http://schemas.microsoft.com/office/drawing/2014/main" id="{B4649E77-633D-4064-B04C-85B6F41ADA5C}"/>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28" name="Graphic 2">
              <a:extLst>
                <a:ext uri="{FF2B5EF4-FFF2-40B4-BE49-F238E27FC236}">
                  <a16:creationId xmlns:a16="http://schemas.microsoft.com/office/drawing/2014/main" id="{47276F8A-FF12-484E-AD7B-5E3338EAEE72}"/>
                </a:ext>
              </a:extLst>
            </p:cNvPr>
            <p:cNvGrpSpPr/>
            <p:nvPr/>
          </p:nvGrpSpPr>
          <p:grpSpPr>
            <a:xfrm>
              <a:off x="3870394" y="1798359"/>
              <a:ext cx="415505" cy="425411"/>
              <a:chOff x="1973955" y="1776325"/>
              <a:chExt cx="415505" cy="425411"/>
            </a:xfrm>
          </p:grpSpPr>
          <p:sp>
            <p:nvSpPr>
              <p:cNvPr id="29" name="Graphic 2">
                <a:extLst>
                  <a:ext uri="{FF2B5EF4-FFF2-40B4-BE49-F238E27FC236}">
                    <a16:creationId xmlns:a16="http://schemas.microsoft.com/office/drawing/2014/main" id="{3B2DB40B-7849-4B68-8E65-8FC6E012357D}"/>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0" name="Graphic 2">
                <a:extLst>
                  <a:ext uri="{FF2B5EF4-FFF2-40B4-BE49-F238E27FC236}">
                    <a16:creationId xmlns:a16="http://schemas.microsoft.com/office/drawing/2014/main" id="{B9DB3966-236C-4AE0-B666-EAE4128665DF}"/>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1" name="Graphic 2">
              <a:extLst>
                <a:ext uri="{FF2B5EF4-FFF2-40B4-BE49-F238E27FC236}">
                  <a16:creationId xmlns:a16="http://schemas.microsoft.com/office/drawing/2014/main" id="{87C06F08-08F0-4912-8D00-67C6724F77EE}"/>
                </a:ext>
              </a:extLst>
            </p:cNvPr>
            <p:cNvGrpSpPr/>
            <p:nvPr/>
          </p:nvGrpSpPr>
          <p:grpSpPr>
            <a:xfrm>
              <a:off x="5891994" y="1798359"/>
              <a:ext cx="415505" cy="425411"/>
              <a:chOff x="1973955" y="1776325"/>
              <a:chExt cx="415505" cy="425411"/>
            </a:xfrm>
          </p:grpSpPr>
          <p:sp>
            <p:nvSpPr>
              <p:cNvPr id="32" name="Graphic 2">
                <a:extLst>
                  <a:ext uri="{FF2B5EF4-FFF2-40B4-BE49-F238E27FC236}">
                    <a16:creationId xmlns:a16="http://schemas.microsoft.com/office/drawing/2014/main" id="{688962C1-4DCF-4940-AB7A-B4971F5EC54D}"/>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3" name="Graphic 2">
                <a:extLst>
                  <a:ext uri="{FF2B5EF4-FFF2-40B4-BE49-F238E27FC236}">
                    <a16:creationId xmlns:a16="http://schemas.microsoft.com/office/drawing/2014/main" id="{FB35F0B6-A142-40AE-AD95-7DC57D8A1792}"/>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4" name="Graphic 2">
              <a:extLst>
                <a:ext uri="{FF2B5EF4-FFF2-40B4-BE49-F238E27FC236}">
                  <a16:creationId xmlns:a16="http://schemas.microsoft.com/office/drawing/2014/main" id="{D788CE51-8467-4E7E-8BD7-E85DFA41EC31}"/>
                </a:ext>
              </a:extLst>
            </p:cNvPr>
            <p:cNvGrpSpPr/>
            <p:nvPr/>
          </p:nvGrpSpPr>
          <p:grpSpPr>
            <a:xfrm>
              <a:off x="7908281" y="1798359"/>
              <a:ext cx="415505" cy="425411"/>
              <a:chOff x="1973955" y="1776325"/>
              <a:chExt cx="415505" cy="425411"/>
            </a:xfrm>
          </p:grpSpPr>
          <p:sp>
            <p:nvSpPr>
              <p:cNvPr id="35" name="Graphic 2">
                <a:extLst>
                  <a:ext uri="{FF2B5EF4-FFF2-40B4-BE49-F238E27FC236}">
                    <a16:creationId xmlns:a16="http://schemas.microsoft.com/office/drawing/2014/main" id="{7C20EB54-73F7-4317-9414-806831E026FE}"/>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6" name="Graphic 2">
                <a:extLst>
                  <a:ext uri="{FF2B5EF4-FFF2-40B4-BE49-F238E27FC236}">
                    <a16:creationId xmlns:a16="http://schemas.microsoft.com/office/drawing/2014/main" id="{81EEC9B2-CD69-40EF-B0B7-8555519D03E8}"/>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7" name="Graphic 2">
              <a:extLst>
                <a:ext uri="{FF2B5EF4-FFF2-40B4-BE49-F238E27FC236}">
                  <a16:creationId xmlns:a16="http://schemas.microsoft.com/office/drawing/2014/main" id="{7C63CD05-C346-45D3-B046-3033994BFCDF}"/>
                </a:ext>
              </a:extLst>
            </p:cNvPr>
            <p:cNvGrpSpPr/>
            <p:nvPr/>
          </p:nvGrpSpPr>
          <p:grpSpPr>
            <a:xfrm>
              <a:off x="9939327" y="1798359"/>
              <a:ext cx="415505" cy="425411"/>
              <a:chOff x="1973955" y="1776325"/>
              <a:chExt cx="415505" cy="425411"/>
            </a:xfrm>
          </p:grpSpPr>
          <p:sp>
            <p:nvSpPr>
              <p:cNvPr id="38" name="Graphic 2">
                <a:extLst>
                  <a:ext uri="{FF2B5EF4-FFF2-40B4-BE49-F238E27FC236}">
                    <a16:creationId xmlns:a16="http://schemas.microsoft.com/office/drawing/2014/main" id="{6CEE6F0E-0A11-418C-9E7D-419FCAEE9141}"/>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9" name="Graphic 2">
                <a:extLst>
                  <a:ext uri="{FF2B5EF4-FFF2-40B4-BE49-F238E27FC236}">
                    <a16:creationId xmlns:a16="http://schemas.microsoft.com/office/drawing/2014/main" id="{EBFC51FA-D14B-4544-BEC1-8DA2940E39DB}"/>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grpSp>
        <p:nvGrpSpPr>
          <p:cNvPr id="208" name="Graphic 114">
            <a:extLst>
              <a:ext uri="{FF2B5EF4-FFF2-40B4-BE49-F238E27FC236}">
                <a16:creationId xmlns:a16="http://schemas.microsoft.com/office/drawing/2014/main" id="{9E920ABF-14C8-C54A-BB3C-F096C159102F}"/>
              </a:ext>
            </a:extLst>
          </p:cNvPr>
          <p:cNvGrpSpPr/>
          <p:nvPr/>
        </p:nvGrpSpPr>
        <p:grpSpPr>
          <a:xfrm>
            <a:off x="9040624" y="3244104"/>
            <a:ext cx="737221" cy="920794"/>
            <a:chOff x="9412888" y="4377251"/>
            <a:chExt cx="737221" cy="920794"/>
          </a:xfrm>
          <a:solidFill>
            <a:srgbClr val="747373"/>
          </a:solidFill>
        </p:grpSpPr>
        <p:grpSp>
          <p:nvGrpSpPr>
            <p:cNvPr id="218" name="Graphic 114">
              <a:extLst>
                <a:ext uri="{FF2B5EF4-FFF2-40B4-BE49-F238E27FC236}">
                  <a16:creationId xmlns:a16="http://schemas.microsoft.com/office/drawing/2014/main" id="{4B495119-A5AC-0644-A461-E9F87EF1D7C7}"/>
                </a:ext>
              </a:extLst>
            </p:cNvPr>
            <p:cNvGrpSpPr/>
            <p:nvPr/>
          </p:nvGrpSpPr>
          <p:grpSpPr>
            <a:xfrm>
              <a:off x="9560869" y="4378507"/>
              <a:ext cx="125994" cy="278028"/>
              <a:chOff x="9560869" y="4378507"/>
              <a:chExt cx="125994" cy="278028"/>
            </a:xfrm>
            <a:solidFill>
              <a:srgbClr val="747373"/>
            </a:solidFill>
          </p:grpSpPr>
          <p:sp>
            <p:nvSpPr>
              <p:cNvPr id="261" name="Graphic 114">
                <a:extLst>
                  <a:ext uri="{FF2B5EF4-FFF2-40B4-BE49-F238E27FC236}">
                    <a16:creationId xmlns:a16="http://schemas.microsoft.com/office/drawing/2014/main" id="{15465E48-7E2E-0244-9E9E-23A9226FCD34}"/>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62" name="Graphic 114">
                <a:extLst>
                  <a:ext uri="{FF2B5EF4-FFF2-40B4-BE49-F238E27FC236}">
                    <a16:creationId xmlns:a16="http://schemas.microsoft.com/office/drawing/2014/main" id="{40B1EDCA-8508-034E-B00D-B36F6A2FD817}"/>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19" name="Graphic 114">
              <a:extLst>
                <a:ext uri="{FF2B5EF4-FFF2-40B4-BE49-F238E27FC236}">
                  <a16:creationId xmlns:a16="http://schemas.microsoft.com/office/drawing/2014/main" id="{2D979A4E-5B27-FA40-B407-AD17D8BCDD40}"/>
                </a:ext>
              </a:extLst>
            </p:cNvPr>
            <p:cNvGrpSpPr/>
            <p:nvPr/>
          </p:nvGrpSpPr>
          <p:grpSpPr>
            <a:xfrm>
              <a:off x="9412888" y="4377251"/>
              <a:ext cx="107244" cy="278257"/>
              <a:chOff x="9412888" y="4377251"/>
              <a:chExt cx="107244" cy="278257"/>
            </a:xfrm>
            <a:solidFill>
              <a:srgbClr val="747373"/>
            </a:solidFill>
          </p:grpSpPr>
          <p:sp>
            <p:nvSpPr>
              <p:cNvPr id="259" name="Graphic 114">
                <a:extLst>
                  <a:ext uri="{FF2B5EF4-FFF2-40B4-BE49-F238E27FC236}">
                    <a16:creationId xmlns:a16="http://schemas.microsoft.com/office/drawing/2014/main" id="{78A4D104-B189-E646-8854-F2B1255C2D9D}"/>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60" name="Graphic 114">
                <a:extLst>
                  <a:ext uri="{FF2B5EF4-FFF2-40B4-BE49-F238E27FC236}">
                    <a16:creationId xmlns:a16="http://schemas.microsoft.com/office/drawing/2014/main" id="{C01E9437-F71B-6E47-AEF9-C50D38446BBE}"/>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0" name="Graphic 114">
              <a:extLst>
                <a:ext uri="{FF2B5EF4-FFF2-40B4-BE49-F238E27FC236}">
                  <a16:creationId xmlns:a16="http://schemas.microsoft.com/office/drawing/2014/main" id="{94ACE7BD-F864-1D4C-93EF-841103C73A57}"/>
                </a:ext>
              </a:extLst>
            </p:cNvPr>
            <p:cNvGrpSpPr/>
            <p:nvPr/>
          </p:nvGrpSpPr>
          <p:grpSpPr>
            <a:xfrm>
              <a:off x="9875857" y="4378507"/>
              <a:ext cx="125994" cy="278028"/>
              <a:chOff x="9875857" y="4378507"/>
              <a:chExt cx="125994" cy="278028"/>
            </a:xfrm>
            <a:solidFill>
              <a:srgbClr val="747373"/>
            </a:solidFill>
          </p:grpSpPr>
          <p:sp>
            <p:nvSpPr>
              <p:cNvPr id="257" name="Graphic 114">
                <a:extLst>
                  <a:ext uri="{FF2B5EF4-FFF2-40B4-BE49-F238E27FC236}">
                    <a16:creationId xmlns:a16="http://schemas.microsoft.com/office/drawing/2014/main" id="{8F710B9B-244A-3E49-B89E-6E4DA6FF2817}"/>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58" name="Graphic 114">
                <a:extLst>
                  <a:ext uri="{FF2B5EF4-FFF2-40B4-BE49-F238E27FC236}">
                    <a16:creationId xmlns:a16="http://schemas.microsoft.com/office/drawing/2014/main" id="{4CC9B01A-8492-A948-8D8A-A7C0902F0D9C}"/>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1" name="Graphic 114">
              <a:extLst>
                <a:ext uri="{FF2B5EF4-FFF2-40B4-BE49-F238E27FC236}">
                  <a16:creationId xmlns:a16="http://schemas.microsoft.com/office/drawing/2014/main" id="{7E84ED1F-AA50-0B4A-93B1-E44CC0EB0668}"/>
                </a:ext>
              </a:extLst>
            </p:cNvPr>
            <p:cNvGrpSpPr/>
            <p:nvPr/>
          </p:nvGrpSpPr>
          <p:grpSpPr>
            <a:xfrm>
              <a:off x="9727877" y="4377251"/>
              <a:ext cx="107244" cy="278257"/>
              <a:chOff x="9727877" y="4377251"/>
              <a:chExt cx="107244" cy="278257"/>
            </a:xfrm>
            <a:solidFill>
              <a:srgbClr val="747373"/>
            </a:solidFill>
          </p:grpSpPr>
          <p:sp>
            <p:nvSpPr>
              <p:cNvPr id="255" name="Graphic 114">
                <a:extLst>
                  <a:ext uri="{FF2B5EF4-FFF2-40B4-BE49-F238E27FC236}">
                    <a16:creationId xmlns:a16="http://schemas.microsoft.com/office/drawing/2014/main" id="{0101054D-6779-6946-9B25-05E9EA0AA5F4}"/>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6" name="Graphic 114">
                <a:extLst>
                  <a:ext uri="{FF2B5EF4-FFF2-40B4-BE49-F238E27FC236}">
                    <a16:creationId xmlns:a16="http://schemas.microsoft.com/office/drawing/2014/main" id="{CEA49177-DBA4-E940-B661-515CFF0B804C}"/>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2" name="Graphic 114">
              <a:extLst>
                <a:ext uri="{FF2B5EF4-FFF2-40B4-BE49-F238E27FC236}">
                  <a16:creationId xmlns:a16="http://schemas.microsoft.com/office/drawing/2014/main" id="{9F0B0D9B-E21C-3F4E-AFF0-0BED3970CCAE}"/>
                </a:ext>
              </a:extLst>
            </p:cNvPr>
            <p:cNvGrpSpPr/>
            <p:nvPr/>
          </p:nvGrpSpPr>
          <p:grpSpPr>
            <a:xfrm>
              <a:off x="10042865" y="4377251"/>
              <a:ext cx="107244" cy="278257"/>
              <a:chOff x="10042865" y="4377251"/>
              <a:chExt cx="107244" cy="278257"/>
            </a:xfrm>
            <a:solidFill>
              <a:srgbClr val="747373"/>
            </a:solidFill>
          </p:grpSpPr>
          <p:sp>
            <p:nvSpPr>
              <p:cNvPr id="253" name="Graphic 114">
                <a:extLst>
                  <a:ext uri="{FF2B5EF4-FFF2-40B4-BE49-F238E27FC236}">
                    <a16:creationId xmlns:a16="http://schemas.microsoft.com/office/drawing/2014/main" id="{EFE8D75B-0F0F-704E-9A32-6731ABA3FF62}"/>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4" name="Graphic 114">
                <a:extLst>
                  <a:ext uri="{FF2B5EF4-FFF2-40B4-BE49-F238E27FC236}">
                    <a16:creationId xmlns:a16="http://schemas.microsoft.com/office/drawing/2014/main" id="{3CDA8D9B-9A9C-FF47-AFDE-CC0DEDD1A576}"/>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3" name="Graphic 114">
              <a:extLst>
                <a:ext uri="{FF2B5EF4-FFF2-40B4-BE49-F238E27FC236}">
                  <a16:creationId xmlns:a16="http://schemas.microsoft.com/office/drawing/2014/main" id="{026B6127-7D58-4E49-B9AF-1276C724F5B9}"/>
                </a:ext>
              </a:extLst>
            </p:cNvPr>
            <p:cNvGrpSpPr/>
            <p:nvPr/>
          </p:nvGrpSpPr>
          <p:grpSpPr>
            <a:xfrm>
              <a:off x="9560869" y="4705250"/>
              <a:ext cx="125994" cy="278028"/>
              <a:chOff x="9560869" y="4705250"/>
              <a:chExt cx="125994" cy="278028"/>
            </a:xfrm>
            <a:solidFill>
              <a:srgbClr val="747373"/>
            </a:solidFill>
          </p:grpSpPr>
          <p:sp>
            <p:nvSpPr>
              <p:cNvPr id="251" name="Graphic 114">
                <a:extLst>
                  <a:ext uri="{FF2B5EF4-FFF2-40B4-BE49-F238E27FC236}">
                    <a16:creationId xmlns:a16="http://schemas.microsoft.com/office/drawing/2014/main" id="{E851B8A6-D3AA-B848-BD6F-FA21118C09A7}"/>
                  </a:ext>
                </a:extLst>
              </p:cNvPr>
              <p:cNvSpPr/>
              <p:nvPr/>
            </p:nvSpPr>
            <p:spPr>
              <a:xfrm>
                <a:off x="9560869"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52" name="Graphic 114">
                <a:extLst>
                  <a:ext uri="{FF2B5EF4-FFF2-40B4-BE49-F238E27FC236}">
                    <a16:creationId xmlns:a16="http://schemas.microsoft.com/office/drawing/2014/main" id="{969BA82F-A8C7-424A-89F6-8679DD937F4B}"/>
                  </a:ext>
                </a:extLst>
              </p:cNvPr>
              <p:cNvSpPr/>
              <p:nvPr/>
            </p:nvSpPr>
            <p:spPr>
              <a:xfrm>
                <a:off x="9601837"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4" name="Graphic 114">
              <a:extLst>
                <a:ext uri="{FF2B5EF4-FFF2-40B4-BE49-F238E27FC236}">
                  <a16:creationId xmlns:a16="http://schemas.microsoft.com/office/drawing/2014/main" id="{0BE88EE7-B6DB-B947-8FB3-130D097CC3CF}"/>
                </a:ext>
              </a:extLst>
            </p:cNvPr>
            <p:cNvGrpSpPr/>
            <p:nvPr/>
          </p:nvGrpSpPr>
          <p:grpSpPr>
            <a:xfrm>
              <a:off x="9412888" y="4703993"/>
              <a:ext cx="107244" cy="278257"/>
              <a:chOff x="9412888" y="4703993"/>
              <a:chExt cx="107244" cy="278257"/>
            </a:xfrm>
            <a:solidFill>
              <a:srgbClr val="747373"/>
            </a:solidFill>
          </p:grpSpPr>
          <p:sp>
            <p:nvSpPr>
              <p:cNvPr id="249" name="Graphic 114">
                <a:extLst>
                  <a:ext uri="{FF2B5EF4-FFF2-40B4-BE49-F238E27FC236}">
                    <a16:creationId xmlns:a16="http://schemas.microsoft.com/office/drawing/2014/main" id="{827AFB91-E26D-9344-A865-DA14A89F6AEE}"/>
                  </a:ext>
                </a:extLst>
              </p:cNvPr>
              <p:cNvSpPr/>
              <p:nvPr/>
            </p:nvSpPr>
            <p:spPr>
              <a:xfrm>
                <a:off x="9412888"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4"/>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411"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0" name="Graphic 114">
                <a:extLst>
                  <a:ext uri="{FF2B5EF4-FFF2-40B4-BE49-F238E27FC236}">
                    <a16:creationId xmlns:a16="http://schemas.microsoft.com/office/drawing/2014/main" id="{4E95FE77-017E-3248-B4CC-683CF3C1A530}"/>
                  </a:ext>
                </a:extLst>
              </p:cNvPr>
              <p:cNvSpPr/>
              <p:nvPr/>
            </p:nvSpPr>
            <p:spPr>
              <a:xfrm>
                <a:off x="9444601" y="4703993"/>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5" name="Graphic 114">
              <a:extLst>
                <a:ext uri="{FF2B5EF4-FFF2-40B4-BE49-F238E27FC236}">
                  <a16:creationId xmlns:a16="http://schemas.microsoft.com/office/drawing/2014/main" id="{BF80950F-090D-9D46-BD9B-1CAB565B171D}"/>
                </a:ext>
              </a:extLst>
            </p:cNvPr>
            <p:cNvGrpSpPr/>
            <p:nvPr/>
          </p:nvGrpSpPr>
          <p:grpSpPr>
            <a:xfrm>
              <a:off x="9875857" y="4705250"/>
              <a:ext cx="125994" cy="278028"/>
              <a:chOff x="9875857" y="4705250"/>
              <a:chExt cx="125994" cy="278028"/>
            </a:xfrm>
            <a:solidFill>
              <a:srgbClr val="747373"/>
            </a:solidFill>
          </p:grpSpPr>
          <p:sp>
            <p:nvSpPr>
              <p:cNvPr id="247" name="Graphic 114">
                <a:extLst>
                  <a:ext uri="{FF2B5EF4-FFF2-40B4-BE49-F238E27FC236}">
                    <a16:creationId xmlns:a16="http://schemas.microsoft.com/office/drawing/2014/main" id="{BEC1B681-70B8-8D4D-A04E-505EDC2D91B4}"/>
                  </a:ext>
                </a:extLst>
              </p:cNvPr>
              <p:cNvSpPr/>
              <p:nvPr/>
            </p:nvSpPr>
            <p:spPr>
              <a:xfrm>
                <a:off x="9875857"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48" name="Graphic 114">
                <a:extLst>
                  <a:ext uri="{FF2B5EF4-FFF2-40B4-BE49-F238E27FC236}">
                    <a16:creationId xmlns:a16="http://schemas.microsoft.com/office/drawing/2014/main" id="{162B72E9-E31B-DD4A-8B03-BE83EDBE4BFD}"/>
                  </a:ext>
                </a:extLst>
              </p:cNvPr>
              <p:cNvSpPr/>
              <p:nvPr/>
            </p:nvSpPr>
            <p:spPr>
              <a:xfrm>
                <a:off x="9916825"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6" name="Graphic 114">
              <a:extLst>
                <a:ext uri="{FF2B5EF4-FFF2-40B4-BE49-F238E27FC236}">
                  <a16:creationId xmlns:a16="http://schemas.microsoft.com/office/drawing/2014/main" id="{BF566F81-C0EA-344A-BAC2-704291790984}"/>
                </a:ext>
              </a:extLst>
            </p:cNvPr>
            <p:cNvGrpSpPr/>
            <p:nvPr/>
          </p:nvGrpSpPr>
          <p:grpSpPr>
            <a:xfrm>
              <a:off x="9727877" y="4703993"/>
              <a:ext cx="107244" cy="278257"/>
              <a:chOff x="9727877" y="4703993"/>
              <a:chExt cx="107244" cy="278257"/>
            </a:xfrm>
            <a:solidFill>
              <a:srgbClr val="747373"/>
            </a:solidFill>
          </p:grpSpPr>
          <p:sp>
            <p:nvSpPr>
              <p:cNvPr id="245" name="Graphic 114">
                <a:extLst>
                  <a:ext uri="{FF2B5EF4-FFF2-40B4-BE49-F238E27FC236}">
                    <a16:creationId xmlns:a16="http://schemas.microsoft.com/office/drawing/2014/main" id="{27D46F04-A496-E94B-89D6-3BC5414C19C0}"/>
                  </a:ext>
                </a:extLst>
              </p:cNvPr>
              <p:cNvSpPr/>
              <p:nvPr/>
            </p:nvSpPr>
            <p:spPr>
              <a:xfrm>
                <a:off x="9727877"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337"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6" name="Graphic 114">
                <a:extLst>
                  <a:ext uri="{FF2B5EF4-FFF2-40B4-BE49-F238E27FC236}">
                    <a16:creationId xmlns:a16="http://schemas.microsoft.com/office/drawing/2014/main" id="{FC8E76C3-7A43-DF4E-9F62-523FAA1E1366}"/>
                  </a:ext>
                </a:extLst>
              </p:cNvPr>
              <p:cNvSpPr/>
              <p:nvPr/>
            </p:nvSpPr>
            <p:spPr>
              <a:xfrm>
                <a:off x="9759516" y="4703993"/>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7" name="Graphic 114">
              <a:extLst>
                <a:ext uri="{FF2B5EF4-FFF2-40B4-BE49-F238E27FC236}">
                  <a16:creationId xmlns:a16="http://schemas.microsoft.com/office/drawing/2014/main" id="{FDA33260-928A-CD42-BB10-3979CC7AE82A}"/>
                </a:ext>
              </a:extLst>
            </p:cNvPr>
            <p:cNvGrpSpPr/>
            <p:nvPr/>
          </p:nvGrpSpPr>
          <p:grpSpPr>
            <a:xfrm>
              <a:off x="10042865" y="4703993"/>
              <a:ext cx="107244" cy="278257"/>
              <a:chOff x="10042865" y="4703993"/>
              <a:chExt cx="107244" cy="278257"/>
            </a:xfrm>
            <a:solidFill>
              <a:srgbClr val="747373"/>
            </a:solidFill>
          </p:grpSpPr>
          <p:sp>
            <p:nvSpPr>
              <p:cNvPr id="243" name="Graphic 114">
                <a:extLst>
                  <a:ext uri="{FF2B5EF4-FFF2-40B4-BE49-F238E27FC236}">
                    <a16:creationId xmlns:a16="http://schemas.microsoft.com/office/drawing/2014/main" id="{1F94B5F1-90F5-3F43-A2A7-340ABF28D2FF}"/>
                  </a:ext>
                </a:extLst>
              </p:cNvPr>
              <p:cNvSpPr/>
              <p:nvPr/>
            </p:nvSpPr>
            <p:spPr>
              <a:xfrm>
                <a:off x="10042865"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4"/>
                    </a:cubicBezTo>
                    <a:cubicBezTo>
                      <a:pt x="107263" y="76215"/>
                      <a:pt x="107263" y="54186"/>
                      <a:pt x="107189" y="32231"/>
                    </a:cubicBezTo>
                    <a:cubicBezTo>
                      <a:pt x="107337" y="14489"/>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4" name="Graphic 114">
                <a:extLst>
                  <a:ext uri="{FF2B5EF4-FFF2-40B4-BE49-F238E27FC236}">
                    <a16:creationId xmlns:a16="http://schemas.microsoft.com/office/drawing/2014/main" id="{FD6082BB-BFD6-3948-84D0-CBF07C49FD64}"/>
                  </a:ext>
                </a:extLst>
              </p:cNvPr>
              <p:cNvSpPr/>
              <p:nvPr/>
            </p:nvSpPr>
            <p:spPr>
              <a:xfrm>
                <a:off x="10074505" y="4703993"/>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8" name="Graphic 114">
              <a:extLst>
                <a:ext uri="{FF2B5EF4-FFF2-40B4-BE49-F238E27FC236}">
                  <a16:creationId xmlns:a16="http://schemas.microsoft.com/office/drawing/2014/main" id="{90CE7B0C-3685-6047-BAB9-72B7007C474E}"/>
                </a:ext>
              </a:extLst>
            </p:cNvPr>
            <p:cNvGrpSpPr/>
            <p:nvPr/>
          </p:nvGrpSpPr>
          <p:grpSpPr>
            <a:xfrm>
              <a:off x="9560869" y="5019943"/>
              <a:ext cx="125994" cy="278102"/>
              <a:chOff x="9560869" y="5019943"/>
              <a:chExt cx="125994" cy="278102"/>
            </a:xfrm>
            <a:solidFill>
              <a:srgbClr val="747373"/>
            </a:solidFill>
          </p:grpSpPr>
          <p:sp>
            <p:nvSpPr>
              <p:cNvPr id="241" name="Graphic 114">
                <a:extLst>
                  <a:ext uri="{FF2B5EF4-FFF2-40B4-BE49-F238E27FC236}">
                    <a16:creationId xmlns:a16="http://schemas.microsoft.com/office/drawing/2014/main" id="{41443329-1BD8-4D4E-8793-76F4756D149B}"/>
                  </a:ext>
                </a:extLst>
              </p:cNvPr>
              <p:cNvSpPr/>
              <p:nvPr/>
            </p:nvSpPr>
            <p:spPr>
              <a:xfrm>
                <a:off x="9560869"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42" name="Graphic 114">
                <a:extLst>
                  <a:ext uri="{FF2B5EF4-FFF2-40B4-BE49-F238E27FC236}">
                    <a16:creationId xmlns:a16="http://schemas.microsoft.com/office/drawing/2014/main" id="{13DCF0C4-8BF0-3243-B0A3-6FDE89A6D31D}"/>
                  </a:ext>
                </a:extLst>
              </p:cNvPr>
              <p:cNvSpPr/>
              <p:nvPr/>
            </p:nvSpPr>
            <p:spPr>
              <a:xfrm>
                <a:off x="9601837"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9" name="Graphic 114">
              <a:extLst>
                <a:ext uri="{FF2B5EF4-FFF2-40B4-BE49-F238E27FC236}">
                  <a16:creationId xmlns:a16="http://schemas.microsoft.com/office/drawing/2014/main" id="{166F83B3-AA33-094C-AD74-3F81F3A3BEB7}"/>
                </a:ext>
              </a:extLst>
            </p:cNvPr>
            <p:cNvGrpSpPr/>
            <p:nvPr/>
          </p:nvGrpSpPr>
          <p:grpSpPr>
            <a:xfrm>
              <a:off x="9412888" y="5018760"/>
              <a:ext cx="107244" cy="278183"/>
              <a:chOff x="9412888" y="5018760"/>
              <a:chExt cx="107244" cy="278183"/>
            </a:xfrm>
            <a:solidFill>
              <a:srgbClr val="747373"/>
            </a:solidFill>
          </p:grpSpPr>
          <p:sp>
            <p:nvSpPr>
              <p:cNvPr id="239" name="Graphic 114">
                <a:extLst>
                  <a:ext uri="{FF2B5EF4-FFF2-40B4-BE49-F238E27FC236}">
                    <a16:creationId xmlns:a16="http://schemas.microsoft.com/office/drawing/2014/main" id="{E811ADC5-D7E3-A84C-B58F-157D3673BD2E}"/>
                  </a:ext>
                </a:extLst>
              </p:cNvPr>
              <p:cNvSpPr/>
              <p:nvPr/>
            </p:nvSpPr>
            <p:spPr>
              <a:xfrm>
                <a:off x="9412888"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0" name="Graphic 114">
                <a:extLst>
                  <a:ext uri="{FF2B5EF4-FFF2-40B4-BE49-F238E27FC236}">
                    <a16:creationId xmlns:a16="http://schemas.microsoft.com/office/drawing/2014/main" id="{6CE86F3A-237A-3F4E-A1D3-A93C88DF0C9D}"/>
                  </a:ext>
                </a:extLst>
              </p:cNvPr>
              <p:cNvSpPr/>
              <p:nvPr/>
            </p:nvSpPr>
            <p:spPr>
              <a:xfrm>
                <a:off x="9444601" y="5018760"/>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30" name="Graphic 114">
              <a:extLst>
                <a:ext uri="{FF2B5EF4-FFF2-40B4-BE49-F238E27FC236}">
                  <a16:creationId xmlns:a16="http://schemas.microsoft.com/office/drawing/2014/main" id="{01E73350-0973-8441-84E7-C71DE086F069}"/>
                </a:ext>
              </a:extLst>
            </p:cNvPr>
            <p:cNvGrpSpPr/>
            <p:nvPr/>
          </p:nvGrpSpPr>
          <p:grpSpPr>
            <a:xfrm>
              <a:off x="9875857" y="5019943"/>
              <a:ext cx="125994" cy="278102"/>
              <a:chOff x="9875857" y="5019943"/>
              <a:chExt cx="125994" cy="278102"/>
            </a:xfrm>
            <a:solidFill>
              <a:srgbClr val="747373"/>
            </a:solidFill>
          </p:grpSpPr>
          <p:sp>
            <p:nvSpPr>
              <p:cNvPr id="237" name="Graphic 114">
                <a:extLst>
                  <a:ext uri="{FF2B5EF4-FFF2-40B4-BE49-F238E27FC236}">
                    <a16:creationId xmlns:a16="http://schemas.microsoft.com/office/drawing/2014/main" id="{3B508D20-4C9E-CE49-89DC-6D49D7E59E78}"/>
                  </a:ext>
                </a:extLst>
              </p:cNvPr>
              <p:cNvSpPr/>
              <p:nvPr/>
            </p:nvSpPr>
            <p:spPr>
              <a:xfrm>
                <a:off x="9875857"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38" name="Graphic 114">
                <a:extLst>
                  <a:ext uri="{FF2B5EF4-FFF2-40B4-BE49-F238E27FC236}">
                    <a16:creationId xmlns:a16="http://schemas.microsoft.com/office/drawing/2014/main" id="{3949D2FB-A955-B548-A930-46C71DCC2BFD}"/>
                  </a:ext>
                </a:extLst>
              </p:cNvPr>
              <p:cNvSpPr/>
              <p:nvPr/>
            </p:nvSpPr>
            <p:spPr>
              <a:xfrm>
                <a:off x="9916825"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31" name="Graphic 114">
              <a:extLst>
                <a:ext uri="{FF2B5EF4-FFF2-40B4-BE49-F238E27FC236}">
                  <a16:creationId xmlns:a16="http://schemas.microsoft.com/office/drawing/2014/main" id="{4C0C0B03-9A2C-1740-913E-ADF65738A78E}"/>
                </a:ext>
              </a:extLst>
            </p:cNvPr>
            <p:cNvGrpSpPr/>
            <p:nvPr/>
          </p:nvGrpSpPr>
          <p:grpSpPr>
            <a:xfrm>
              <a:off x="9727877" y="5018760"/>
              <a:ext cx="107244" cy="278183"/>
              <a:chOff x="9727877" y="5018760"/>
              <a:chExt cx="107244" cy="278183"/>
            </a:xfrm>
            <a:solidFill>
              <a:srgbClr val="747373"/>
            </a:solidFill>
          </p:grpSpPr>
          <p:sp>
            <p:nvSpPr>
              <p:cNvPr id="235" name="Graphic 114">
                <a:extLst>
                  <a:ext uri="{FF2B5EF4-FFF2-40B4-BE49-F238E27FC236}">
                    <a16:creationId xmlns:a16="http://schemas.microsoft.com/office/drawing/2014/main" id="{2AE4A75D-1E12-6640-9C03-2ACFFE5AE54C}"/>
                  </a:ext>
                </a:extLst>
              </p:cNvPr>
              <p:cNvSpPr/>
              <p:nvPr/>
            </p:nvSpPr>
            <p:spPr>
              <a:xfrm>
                <a:off x="9727877"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36" name="Graphic 114">
                <a:extLst>
                  <a:ext uri="{FF2B5EF4-FFF2-40B4-BE49-F238E27FC236}">
                    <a16:creationId xmlns:a16="http://schemas.microsoft.com/office/drawing/2014/main" id="{320A3466-7AC8-D944-94D0-C34A2EE4CEF2}"/>
                  </a:ext>
                </a:extLst>
              </p:cNvPr>
              <p:cNvSpPr/>
              <p:nvPr/>
            </p:nvSpPr>
            <p:spPr>
              <a:xfrm>
                <a:off x="9759516" y="5018760"/>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32" name="Graphic 114">
              <a:extLst>
                <a:ext uri="{FF2B5EF4-FFF2-40B4-BE49-F238E27FC236}">
                  <a16:creationId xmlns:a16="http://schemas.microsoft.com/office/drawing/2014/main" id="{66A67602-1D67-8E4A-B99A-529649E594F0}"/>
                </a:ext>
              </a:extLst>
            </p:cNvPr>
            <p:cNvGrpSpPr/>
            <p:nvPr/>
          </p:nvGrpSpPr>
          <p:grpSpPr>
            <a:xfrm>
              <a:off x="10042865" y="5018760"/>
              <a:ext cx="107244" cy="278183"/>
              <a:chOff x="10042865" y="5018760"/>
              <a:chExt cx="107244" cy="278183"/>
            </a:xfrm>
            <a:solidFill>
              <a:srgbClr val="747373"/>
            </a:solidFill>
          </p:grpSpPr>
          <p:sp>
            <p:nvSpPr>
              <p:cNvPr id="233" name="Graphic 114">
                <a:extLst>
                  <a:ext uri="{FF2B5EF4-FFF2-40B4-BE49-F238E27FC236}">
                    <a16:creationId xmlns:a16="http://schemas.microsoft.com/office/drawing/2014/main" id="{2290FE15-F3BD-FE48-9087-31358CAC88D1}"/>
                  </a:ext>
                </a:extLst>
              </p:cNvPr>
              <p:cNvSpPr/>
              <p:nvPr/>
            </p:nvSpPr>
            <p:spPr>
              <a:xfrm>
                <a:off x="10042865"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34" name="Graphic 114">
                <a:extLst>
                  <a:ext uri="{FF2B5EF4-FFF2-40B4-BE49-F238E27FC236}">
                    <a16:creationId xmlns:a16="http://schemas.microsoft.com/office/drawing/2014/main" id="{4FDEC2AF-414B-6246-884C-20AD0148D15C}"/>
                  </a:ext>
                </a:extLst>
              </p:cNvPr>
              <p:cNvSpPr/>
              <p:nvPr/>
            </p:nvSpPr>
            <p:spPr>
              <a:xfrm>
                <a:off x="10074505" y="5018760"/>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sp>
        <p:nvSpPr>
          <p:cNvPr id="9" name="Rechthoek 8">
            <a:extLst>
              <a:ext uri="{FF2B5EF4-FFF2-40B4-BE49-F238E27FC236}">
                <a16:creationId xmlns:a16="http://schemas.microsoft.com/office/drawing/2014/main" id="{497D6DF3-7AFE-F54A-B676-F6607F9636EE}"/>
              </a:ext>
            </a:extLst>
          </p:cNvPr>
          <p:cNvSpPr/>
          <p:nvPr/>
        </p:nvSpPr>
        <p:spPr>
          <a:xfrm>
            <a:off x="983182" y="900248"/>
            <a:ext cx="10140511" cy="338554"/>
          </a:xfrm>
          <a:prstGeom prst="rect">
            <a:avLst/>
          </a:prstGeom>
        </p:spPr>
        <p:txBody>
          <a:bodyPr wrap="square">
            <a:spAutoFit/>
          </a:bodyPr>
          <a:lstStyle/>
          <a:p>
            <a:pPr algn="l"/>
            <a:endParaRPr lang="nl-NL" sz="1600" dirty="0">
              <a:latin typeface="Verdana" panose="020B0604030504040204" pitchFamily="34" charset="0"/>
              <a:ea typeface="Verdana" panose="020B0604030504040204" pitchFamily="34" charset="0"/>
              <a:cs typeface="Verdana" panose="020B0604030504040204" pitchFamily="34" charset="0"/>
            </a:endParaRPr>
          </a:p>
        </p:txBody>
      </p:sp>
      <p:sp>
        <p:nvSpPr>
          <p:cNvPr id="202" name="Ovaal 201">
            <a:extLst>
              <a:ext uri="{FF2B5EF4-FFF2-40B4-BE49-F238E27FC236}">
                <a16:creationId xmlns:a16="http://schemas.microsoft.com/office/drawing/2014/main" id="{2D7CE857-687E-9546-B5A9-25BABC86B5C7}"/>
              </a:ext>
            </a:extLst>
          </p:cNvPr>
          <p:cNvSpPr/>
          <p:nvPr/>
        </p:nvSpPr>
        <p:spPr>
          <a:xfrm>
            <a:off x="7005918" y="3774068"/>
            <a:ext cx="506896" cy="35401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3" name="Ovaal 202">
            <a:extLst>
              <a:ext uri="{FF2B5EF4-FFF2-40B4-BE49-F238E27FC236}">
                <a16:creationId xmlns:a16="http://schemas.microsoft.com/office/drawing/2014/main" id="{8CC532C1-E38B-4541-93FE-C155071594A4}"/>
              </a:ext>
            </a:extLst>
          </p:cNvPr>
          <p:cNvSpPr/>
          <p:nvPr/>
        </p:nvSpPr>
        <p:spPr>
          <a:xfrm>
            <a:off x="6978611" y="5524214"/>
            <a:ext cx="506896" cy="3540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4" name="Ovaal 203">
            <a:extLst>
              <a:ext uri="{FF2B5EF4-FFF2-40B4-BE49-F238E27FC236}">
                <a16:creationId xmlns:a16="http://schemas.microsoft.com/office/drawing/2014/main" id="{308CD260-415E-174D-AE30-17AD5D3B5205}"/>
              </a:ext>
            </a:extLst>
          </p:cNvPr>
          <p:cNvSpPr/>
          <p:nvPr/>
        </p:nvSpPr>
        <p:spPr>
          <a:xfrm>
            <a:off x="7153746" y="4663889"/>
            <a:ext cx="506896" cy="3540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6" name="Ovaal 205">
            <a:extLst>
              <a:ext uri="{FF2B5EF4-FFF2-40B4-BE49-F238E27FC236}">
                <a16:creationId xmlns:a16="http://schemas.microsoft.com/office/drawing/2014/main" id="{90AC69FD-A895-3C48-930E-CFDCCE18F6E6}"/>
              </a:ext>
            </a:extLst>
          </p:cNvPr>
          <p:cNvSpPr/>
          <p:nvPr/>
        </p:nvSpPr>
        <p:spPr>
          <a:xfrm>
            <a:off x="5313703" y="4323392"/>
            <a:ext cx="661996" cy="45643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200" b="1" dirty="0">
                <a:latin typeface="VAG Rounded Std Thin" panose="020F0402020204020204" pitchFamily="34" charset="0"/>
              </a:rPr>
              <a:t>Int DVL</a:t>
            </a:r>
          </a:p>
        </p:txBody>
      </p:sp>
      <p:cxnSp>
        <p:nvCxnSpPr>
          <p:cNvPr id="209" name="Rechte verbindingslijn met pijl 208">
            <a:extLst>
              <a:ext uri="{FF2B5EF4-FFF2-40B4-BE49-F238E27FC236}">
                <a16:creationId xmlns:a16="http://schemas.microsoft.com/office/drawing/2014/main" id="{7975B5AD-CCE6-D243-A544-94FCDBC211E2}"/>
              </a:ext>
            </a:extLst>
          </p:cNvPr>
          <p:cNvCxnSpPr>
            <a:cxnSpLocks/>
            <a:stCxn id="148" idx="29"/>
            <a:endCxn id="47" idx="1"/>
          </p:cNvCxnSpPr>
          <p:nvPr/>
        </p:nvCxnSpPr>
        <p:spPr>
          <a:xfrm>
            <a:off x="1578295" y="4253730"/>
            <a:ext cx="1393878" cy="120569"/>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0" name="Rechte verbindingslijn met pijl 209">
            <a:extLst>
              <a:ext uri="{FF2B5EF4-FFF2-40B4-BE49-F238E27FC236}">
                <a16:creationId xmlns:a16="http://schemas.microsoft.com/office/drawing/2014/main" id="{E122D107-D092-1147-8660-06564598F84C}"/>
              </a:ext>
            </a:extLst>
          </p:cNvPr>
          <p:cNvCxnSpPr>
            <a:cxnSpLocks/>
            <a:stCxn id="118" idx="35"/>
          </p:cNvCxnSpPr>
          <p:nvPr/>
        </p:nvCxnSpPr>
        <p:spPr>
          <a:xfrm>
            <a:off x="1114867" y="3605198"/>
            <a:ext cx="1875030" cy="117280"/>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2" name="Rechte verbindingslijn met pijl 211">
            <a:extLst>
              <a:ext uri="{FF2B5EF4-FFF2-40B4-BE49-F238E27FC236}">
                <a16:creationId xmlns:a16="http://schemas.microsoft.com/office/drawing/2014/main" id="{FC27D48C-B0AB-F44A-B2BB-8ED599FD824F}"/>
              </a:ext>
            </a:extLst>
          </p:cNvPr>
          <p:cNvCxnSpPr>
            <a:cxnSpLocks/>
          </p:cNvCxnSpPr>
          <p:nvPr/>
        </p:nvCxnSpPr>
        <p:spPr>
          <a:xfrm>
            <a:off x="1425014" y="3864179"/>
            <a:ext cx="1545378" cy="106966"/>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3" name="Rechte verbindingslijn met pijl 212">
            <a:extLst>
              <a:ext uri="{FF2B5EF4-FFF2-40B4-BE49-F238E27FC236}">
                <a16:creationId xmlns:a16="http://schemas.microsoft.com/office/drawing/2014/main" id="{5FFD53EA-B42C-5842-B834-BC969B323EB5}"/>
              </a:ext>
            </a:extLst>
          </p:cNvPr>
          <p:cNvCxnSpPr>
            <a:cxnSpLocks/>
            <a:stCxn id="148" idx="19"/>
          </p:cNvCxnSpPr>
          <p:nvPr/>
        </p:nvCxnSpPr>
        <p:spPr>
          <a:xfrm>
            <a:off x="1553308" y="4286256"/>
            <a:ext cx="1417084" cy="502266"/>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7" name="Rechte verbindingslijn met pijl 216">
            <a:extLst>
              <a:ext uri="{FF2B5EF4-FFF2-40B4-BE49-F238E27FC236}">
                <a16:creationId xmlns:a16="http://schemas.microsoft.com/office/drawing/2014/main" id="{5F6D5A7C-2C90-824C-9AFE-00C959C029EB}"/>
              </a:ext>
            </a:extLst>
          </p:cNvPr>
          <p:cNvCxnSpPr>
            <a:cxnSpLocks/>
            <a:stCxn id="56" idx="6"/>
          </p:cNvCxnSpPr>
          <p:nvPr/>
        </p:nvCxnSpPr>
        <p:spPr>
          <a:xfrm>
            <a:off x="5048995" y="3564429"/>
            <a:ext cx="3894833" cy="118706"/>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Rechte verbindingslijn met pijl 262">
            <a:extLst>
              <a:ext uri="{FF2B5EF4-FFF2-40B4-BE49-F238E27FC236}">
                <a16:creationId xmlns:a16="http://schemas.microsoft.com/office/drawing/2014/main" id="{8788E54A-50C3-584A-827E-DAEAE79F7EC3}"/>
              </a:ext>
            </a:extLst>
          </p:cNvPr>
          <p:cNvCxnSpPr>
            <a:cxnSpLocks/>
            <a:stCxn id="47" idx="3"/>
            <a:endCxn id="56" idx="2"/>
          </p:cNvCxnSpPr>
          <p:nvPr/>
        </p:nvCxnSpPr>
        <p:spPr>
          <a:xfrm flipV="1">
            <a:off x="3591663" y="3564429"/>
            <a:ext cx="795336" cy="809870"/>
          </a:xfrm>
          <a:prstGeom prst="straightConnector1">
            <a:avLst/>
          </a:prstGeom>
          <a:ln w="508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Rechte verbindingslijn met pijl 263">
            <a:extLst>
              <a:ext uri="{FF2B5EF4-FFF2-40B4-BE49-F238E27FC236}">
                <a16:creationId xmlns:a16="http://schemas.microsoft.com/office/drawing/2014/main" id="{2CD06743-D18B-E445-AE95-3DEA11D45025}"/>
              </a:ext>
            </a:extLst>
          </p:cNvPr>
          <p:cNvCxnSpPr>
            <a:cxnSpLocks/>
            <a:stCxn id="206" idx="6"/>
            <a:endCxn id="202" idx="2"/>
          </p:cNvCxnSpPr>
          <p:nvPr/>
        </p:nvCxnSpPr>
        <p:spPr>
          <a:xfrm flipV="1">
            <a:off x="5975699" y="3951075"/>
            <a:ext cx="1030219" cy="600532"/>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Rechte verbindingslijn met pijl 264">
            <a:extLst>
              <a:ext uri="{FF2B5EF4-FFF2-40B4-BE49-F238E27FC236}">
                <a16:creationId xmlns:a16="http://schemas.microsoft.com/office/drawing/2014/main" id="{8A3A98D2-026B-EF4E-AC3E-3EAF3AEEC36E}"/>
              </a:ext>
            </a:extLst>
          </p:cNvPr>
          <p:cNvCxnSpPr>
            <a:cxnSpLocks/>
            <a:stCxn id="206" idx="6"/>
            <a:endCxn id="80" idx="2"/>
          </p:cNvCxnSpPr>
          <p:nvPr/>
        </p:nvCxnSpPr>
        <p:spPr>
          <a:xfrm flipV="1">
            <a:off x="5975699" y="4421128"/>
            <a:ext cx="1030219" cy="130479"/>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Rechte verbindingslijn met pijl 265">
            <a:extLst>
              <a:ext uri="{FF2B5EF4-FFF2-40B4-BE49-F238E27FC236}">
                <a16:creationId xmlns:a16="http://schemas.microsoft.com/office/drawing/2014/main" id="{C768F53D-BA65-324F-BDCA-04AA34847C84}"/>
              </a:ext>
            </a:extLst>
          </p:cNvPr>
          <p:cNvCxnSpPr>
            <a:cxnSpLocks/>
            <a:stCxn id="206" idx="6"/>
            <a:endCxn id="203" idx="2"/>
          </p:cNvCxnSpPr>
          <p:nvPr/>
        </p:nvCxnSpPr>
        <p:spPr>
          <a:xfrm>
            <a:off x="5975699" y="4551607"/>
            <a:ext cx="1002912" cy="1149614"/>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Rechte verbindingslijn met pijl 268">
            <a:extLst>
              <a:ext uri="{FF2B5EF4-FFF2-40B4-BE49-F238E27FC236}">
                <a16:creationId xmlns:a16="http://schemas.microsoft.com/office/drawing/2014/main" id="{E2BBFF37-DDDD-B048-94C6-EB01DB888E95}"/>
              </a:ext>
            </a:extLst>
          </p:cNvPr>
          <p:cNvCxnSpPr>
            <a:cxnSpLocks/>
            <a:stCxn id="202" idx="6"/>
          </p:cNvCxnSpPr>
          <p:nvPr/>
        </p:nvCxnSpPr>
        <p:spPr>
          <a:xfrm flipV="1">
            <a:off x="7512814" y="3875134"/>
            <a:ext cx="1491262" cy="75941"/>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Rechte verbindingslijn met pijl 269">
            <a:extLst>
              <a:ext uri="{FF2B5EF4-FFF2-40B4-BE49-F238E27FC236}">
                <a16:creationId xmlns:a16="http://schemas.microsoft.com/office/drawing/2014/main" id="{675AE690-86E3-4943-AFFF-A241ABD77D23}"/>
              </a:ext>
            </a:extLst>
          </p:cNvPr>
          <p:cNvCxnSpPr>
            <a:cxnSpLocks/>
            <a:stCxn id="204" idx="6"/>
          </p:cNvCxnSpPr>
          <p:nvPr/>
        </p:nvCxnSpPr>
        <p:spPr>
          <a:xfrm>
            <a:off x="7660642" y="4840896"/>
            <a:ext cx="1306006" cy="3115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Rechte verbindingslijn met pijl 270">
            <a:extLst>
              <a:ext uri="{FF2B5EF4-FFF2-40B4-BE49-F238E27FC236}">
                <a16:creationId xmlns:a16="http://schemas.microsoft.com/office/drawing/2014/main" id="{D97F676F-DADC-C54D-A81D-0AE904335F2D}"/>
              </a:ext>
            </a:extLst>
          </p:cNvPr>
          <p:cNvCxnSpPr>
            <a:cxnSpLocks/>
            <a:stCxn id="203" idx="6"/>
          </p:cNvCxnSpPr>
          <p:nvPr/>
        </p:nvCxnSpPr>
        <p:spPr>
          <a:xfrm flipV="1">
            <a:off x="7485507" y="5350713"/>
            <a:ext cx="1553535" cy="350508"/>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2" name="Graphic 114">
            <a:extLst>
              <a:ext uri="{FF2B5EF4-FFF2-40B4-BE49-F238E27FC236}">
                <a16:creationId xmlns:a16="http://schemas.microsoft.com/office/drawing/2014/main" id="{D29D37C4-BFF7-5E42-892C-79FE1F6CB43F}"/>
              </a:ext>
            </a:extLst>
          </p:cNvPr>
          <p:cNvGrpSpPr/>
          <p:nvPr/>
        </p:nvGrpSpPr>
        <p:grpSpPr>
          <a:xfrm>
            <a:off x="9107365" y="4490518"/>
            <a:ext cx="737221" cy="920794"/>
            <a:chOff x="9412888" y="4377251"/>
            <a:chExt cx="737221" cy="920794"/>
          </a:xfrm>
          <a:solidFill>
            <a:srgbClr val="747373"/>
          </a:solidFill>
        </p:grpSpPr>
        <p:grpSp>
          <p:nvGrpSpPr>
            <p:cNvPr id="273" name="Graphic 114">
              <a:extLst>
                <a:ext uri="{FF2B5EF4-FFF2-40B4-BE49-F238E27FC236}">
                  <a16:creationId xmlns:a16="http://schemas.microsoft.com/office/drawing/2014/main" id="{AAC17051-BF6D-F44B-BDA6-C96EBFB6BC35}"/>
                </a:ext>
              </a:extLst>
            </p:cNvPr>
            <p:cNvGrpSpPr/>
            <p:nvPr/>
          </p:nvGrpSpPr>
          <p:grpSpPr>
            <a:xfrm>
              <a:off x="9560869" y="4378507"/>
              <a:ext cx="125994" cy="278028"/>
              <a:chOff x="9560869" y="4378507"/>
              <a:chExt cx="125994" cy="278028"/>
            </a:xfrm>
            <a:solidFill>
              <a:srgbClr val="747373"/>
            </a:solidFill>
          </p:grpSpPr>
          <p:sp>
            <p:nvSpPr>
              <p:cNvPr id="316" name="Graphic 114">
                <a:extLst>
                  <a:ext uri="{FF2B5EF4-FFF2-40B4-BE49-F238E27FC236}">
                    <a16:creationId xmlns:a16="http://schemas.microsoft.com/office/drawing/2014/main" id="{3A6F83AF-3E45-FC47-AEB7-F823F71E2B01}"/>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17" name="Graphic 114">
                <a:extLst>
                  <a:ext uri="{FF2B5EF4-FFF2-40B4-BE49-F238E27FC236}">
                    <a16:creationId xmlns:a16="http://schemas.microsoft.com/office/drawing/2014/main" id="{3F10F913-2074-F042-BB1F-07610C719D62}"/>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4" name="Graphic 114">
              <a:extLst>
                <a:ext uri="{FF2B5EF4-FFF2-40B4-BE49-F238E27FC236}">
                  <a16:creationId xmlns:a16="http://schemas.microsoft.com/office/drawing/2014/main" id="{D46000E2-87C1-5242-A7E2-224D1129388D}"/>
                </a:ext>
              </a:extLst>
            </p:cNvPr>
            <p:cNvGrpSpPr/>
            <p:nvPr/>
          </p:nvGrpSpPr>
          <p:grpSpPr>
            <a:xfrm>
              <a:off x="9412888" y="4377251"/>
              <a:ext cx="107244" cy="278257"/>
              <a:chOff x="9412888" y="4377251"/>
              <a:chExt cx="107244" cy="278257"/>
            </a:xfrm>
            <a:solidFill>
              <a:srgbClr val="747373"/>
            </a:solidFill>
          </p:grpSpPr>
          <p:sp>
            <p:nvSpPr>
              <p:cNvPr id="314" name="Graphic 114">
                <a:extLst>
                  <a:ext uri="{FF2B5EF4-FFF2-40B4-BE49-F238E27FC236}">
                    <a16:creationId xmlns:a16="http://schemas.microsoft.com/office/drawing/2014/main" id="{5B71E8B0-97FA-5C4B-8C27-F4AE94F3D4C6}"/>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15" name="Graphic 114">
                <a:extLst>
                  <a:ext uri="{FF2B5EF4-FFF2-40B4-BE49-F238E27FC236}">
                    <a16:creationId xmlns:a16="http://schemas.microsoft.com/office/drawing/2014/main" id="{51527234-8ABF-5C4D-A60D-B42772EB88D7}"/>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5" name="Graphic 114">
              <a:extLst>
                <a:ext uri="{FF2B5EF4-FFF2-40B4-BE49-F238E27FC236}">
                  <a16:creationId xmlns:a16="http://schemas.microsoft.com/office/drawing/2014/main" id="{0C2BA555-9AE6-384A-8F14-E5C63E4AE204}"/>
                </a:ext>
              </a:extLst>
            </p:cNvPr>
            <p:cNvGrpSpPr/>
            <p:nvPr/>
          </p:nvGrpSpPr>
          <p:grpSpPr>
            <a:xfrm>
              <a:off x="9875857" y="4378507"/>
              <a:ext cx="125994" cy="278028"/>
              <a:chOff x="9875857" y="4378507"/>
              <a:chExt cx="125994" cy="278028"/>
            </a:xfrm>
            <a:solidFill>
              <a:srgbClr val="747373"/>
            </a:solidFill>
          </p:grpSpPr>
          <p:sp>
            <p:nvSpPr>
              <p:cNvPr id="312" name="Graphic 114">
                <a:extLst>
                  <a:ext uri="{FF2B5EF4-FFF2-40B4-BE49-F238E27FC236}">
                    <a16:creationId xmlns:a16="http://schemas.microsoft.com/office/drawing/2014/main" id="{DA79F54C-4818-4442-AFE5-7691AA5EB728}"/>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13" name="Graphic 114">
                <a:extLst>
                  <a:ext uri="{FF2B5EF4-FFF2-40B4-BE49-F238E27FC236}">
                    <a16:creationId xmlns:a16="http://schemas.microsoft.com/office/drawing/2014/main" id="{67D9D8F8-EFD4-294B-8B12-EB9E60F748C9}"/>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6" name="Graphic 114">
              <a:extLst>
                <a:ext uri="{FF2B5EF4-FFF2-40B4-BE49-F238E27FC236}">
                  <a16:creationId xmlns:a16="http://schemas.microsoft.com/office/drawing/2014/main" id="{C645564E-C8E8-1C41-B268-CDD5AED736D7}"/>
                </a:ext>
              </a:extLst>
            </p:cNvPr>
            <p:cNvGrpSpPr/>
            <p:nvPr/>
          </p:nvGrpSpPr>
          <p:grpSpPr>
            <a:xfrm>
              <a:off x="9727877" y="4377251"/>
              <a:ext cx="107244" cy="278257"/>
              <a:chOff x="9727877" y="4377251"/>
              <a:chExt cx="107244" cy="278257"/>
            </a:xfrm>
            <a:solidFill>
              <a:srgbClr val="747373"/>
            </a:solidFill>
          </p:grpSpPr>
          <p:sp>
            <p:nvSpPr>
              <p:cNvPr id="310" name="Graphic 114">
                <a:extLst>
                  <a:ext uri="{FF2B5EF4-FFF2-40B4-BE49-F238E27FC236}">
                    <a16:creationId xmlns:a16="http://schemas.microsoft.com/office/drawing/2014/main" id="{1CBD840A-ED76-AE45-B949-DA424B057056}"/>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11" name="Graphic 114">
                <a:extLst>
                  <a:ext uri="{FF2B5EF4-FFF2-40B4-BE49-F238E27FC236}">
                    <a16:creationId xmlns:a16="http://schemas.microsoft.com/office/drawing/2014/main" id="{F7B8945B-2B19-EC4B-A3AA-5E05F0CF8087}"/>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7" name="Graphic 114">
              <a:extLst>
                <a:ext uri="{FF2B5EF4-FFF2-40B4-BE49-F238E27FC236}">
                  <a16:creationId xmlns:a16="http://schemas.microsoft.com/office/drawing/2014/main" id="{89D4705C-D4C7-5C4B-8384-53EEF1FB2D5E}"/>
                </a:ext>
              </a:extLst>
            </p:cNvPr>
            <p:cNvGrpSpPr/>
            <p:nvPr/>
          </p:nvGrpSpPr>
          <p:grpSpPr>
            <a:xfrm>
              <a:off x="10042865" y="4377251"/>
              <a:ext cx="107244" cy="278257"/>
              <a:chOff x="10042865" y="4377251"/>
              <a:chExt cx="107244" cy="278257"/>
            </a:xfrm>
            <a:solidFill>
              <a:srgbClr val="747373"/>
            </a:solidFill>
          </p:grpSpPr>
          <p:sp>
            <p:nvSpPr>
              <p:cNvPr id="308" name="Graphic 114">
                <a:extLst>
                  <a:ext uri="{FF2B5EF4-FFF2-40B4-BE49-F238E27FC236}">
                    <a16:creationId xmlns:a16="http://schemas.microsoft.com/office/drawing/2014/main" id="{EEE678EF-55CF-504C-BE46-2D47B51A0542}"/>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9" name="Graphic 114">
                <a:extLst>
                  <a:ext uri="{FF2B5EF4-FFF2-40B4-BE49-F238E27FC236}">
                    <a16:creationId xmlns:a16="http://schemas.microsoft.com/office/drawing/2014/main" id="{716D2298-CD54-6249-8567-A2B19D9EC294}"/>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8" name="Graphic 114">
              <a:extLst>
                <a:ext uri="{FF2B5EF4-FFF2-40B4-BE49-F238E27FC236}">
                  <a16:creationId xmlns:a16="http://schemas.microsoft.com/office/drawing/2014/main" id="{2DEF3210-0CCB-0A44-AE5A-7799F529763F}"/>
                </a:ext>
              </a:extLst>
            </p:cNvPr>
            <p:cNvGrpSpPr/>
            <p:nvPr/>
          </p:nvGrpSpPr>
          <p:grpSpPr>
            <a:xfrm>
              <a:off x="9560869" y="4705250"/>
              <a:ext cx="125994" cy="278028"/>
              <a:chOff x="9560869" y="4705250"/>
              <a:chExt cx="125994" cy="278028"/>
            </a:xfrm>
            <a:solidFill>
              <a:srgbClr val="747373"/>
            </a:solidFill>
          </p:grpSpPr>
          <p:sp>
            <p:nvSpPr>
              <p:cNvPr id="306" name="Graphic 114">
                <a:extLst>
                  <a:ext uri="{FF2B5EF4-FFF2-40B4-BE49-F238E27FC236}">
                    <a16:creationId xmlns:a16="http://schemas.microsoft.com/office/drawing/2014/main" id="{0AB55736-F0A4-6448-BBF2-1D65ADE31DA3}"/>
                  </a:ext>
                </a:extLst>
              </p:cNvPr>
              <p:cNvSpPr/>
              <p:nvPr/>
            </p:nvSpPr>
            <p:spPr>
              <a:xfrm>
                <a:off x="9560869"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07" name="Graphic 114">
                <a:extLst>
                  <a:ext uri="{FF2B5EF4-FFF2-40B4-BE49-F238E27FC236}">
                    <a16:creationId xmlns:a16="http://schemas.microsoft.com/office/drawing/2014/main" id="{E53FC488-29BE-AA49-AD13-2D2C3C701D3C}"/>
                  </a:ext>
                </a:extLst>
              </p:cNvPr>
              <p:cNvSpPr/>
              <p:nvPr/>
            </p:nvSpPr>
            <p:spPr>
              <a:xfrm>
                <a:off x="9601837"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9" name="Graphic 114">
              <a:extLst>
                <a:ext uri="{FF2B5EF4-FFF2-40B4-BE49-F238E27FC236}">
                  <a16:creationId xmlns:a16="http://schemas.microsoft.com/office/drawing/2014/main" id="{4F1C9A00-5F47-A04D-9663-EE1323A0A127}"/>
                </a:ext>
              </a:extLst>
            </p:cNvPr>
            <p:cNvGrpSpPr/>
            <p:nvPr/>
          </p:nvGrpSpPr>
          <p:grpSpPr>
            <a:xfrm>
              <a:off x="9412888" y="4703993"/>
              <a:ext cx="107244" cy="278257"/>
              <a:chOff x="9412888" y="4703993"/>
              <a:chExt cx="107244" cy="278257"/>
            </a:xfrm>
            <a:solidFill>
              <a:srgbClr val="747373"/>
            </a:solidFill>
          </p:grpSpPr>
          <p:sp>
            <p:nvSpPr>
              <p:cNvPr id="304" name="Graphic 114">
                <a:extLst>
                  <a:ext uri="{FF2B5EF4-FFF2-40B4-BE49-F238E27FC236}">
                    <a16:creationId xmlns:a16="http://schemas.microsoft.com/office/drawing/2014/main" id="{50DF9E56-7FBC-3149-8C23-F8A5C0645AD1}"/>
                  </a:ext>
                </a:extLst>
              </p:cNvPr>
              <p:cNvSpPr/>
              <p:nvPr/>
            </p:nvSpPr>
            <p:spPr>
              <a:xfrm>
                <a:off x="9412888"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4"/>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411"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5" name="Graphic 114">
                <a:extLst>
                  <a:ext uri="{FF2B5EF4-FFF2-40B4-BE49-F238E27FC236}">
                    <a16:creationId xmlns:a16="http://schemas.microsoft.com/office/drawing/2014/main" id="{9DE1DA2A-52CB-8F49-B270-2A9C36551D09}"/>
                  </a:ext>
                </a:extLst>
              </p:cNvPr>
              <p:cNvSpPr/>
              <p:nvPr/>
            </p:nvSpPr>
            <p:spPr>
              <a:xfrm>
                <a:off x="9444601" y="4703993"/>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0" name="Graphic 114">
              <a:extLst>
                <a:ext uri="{FF2B5EF4-FFF2-40B4-BE49-F238E27FC236}">
                  <a16:creationId xmlns:a16="http://schemas.microsoft.com/office/drawing/2014/main" id="{B2011E1F-B6A3-AD4B-9FB6-288E8D4AB72A}"/>
                </a:ext>
              </a:extLst>
            </p:cNvPr>
            <p:cNvGrpSpPr/>
            <p:nvPr/>
          </p:nvGrpSpPr>
          <p:grpSpPr>
            <a:xfrm>
              <a:off x="9875857" y="4705250"/>
              <a:ext cx="125994" cy="278028"/>
              <a:chOff x="9875857" y="4705250"/>
              <a:chExt cx="125994" cy="278028"/>
            </a:xfrm>
            <a:solidFill>
              <a:srgbClr val="747373"/>
            </a:solidFill>
          </p:grpSpPr>
          <p:sp>
            <p:nvSpPr>
              <p:cNvPr id="302" name="Graphic 114">
                <a:extLst>
                  <a:ext uri="{FF2B5EF4-FFF2-40B4-BE49-F238E27FC236}">
                    <a16:creationId xmlns:a16="http://schemas.microsoft.com/office/drawing/2014/main" id="{EF087F26-08E8-2F4D-A120-FD6DC471241C}"/>
                  </a:ext>
                </a:extLst>
              </p:cNvPr>
              <p:cNvSpPr/>
              <p:nvPr/>
            </p:nvSpPr>
            <p:spPr>
              <a:xfrm>
                <a:off x="9875857"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03" name="Graphic 114">
                <a:extLst>
                  <a:ext uri="{FF2B5EF4-FFF2-40B4-BE49-F238E27FC236}">
                    <a16:creationId xmlns:a16="http://schemas.microsoft.com/office/drawing/2014/main" id="{BAA54C19-4D77-2B4E-9C8F-6889DA5280D4}"/>
                  </a:ext>
                </a:extLst>
              </p:cNvPr>
              <p:cNvSpPr/>
              <p:nvPr/>
            </p:nvSpPr>
            <p:spPr>
              <a:xfrm>
                <a:off x="9916825"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1" name="Graphic 114">
              <a:extLst>
                <a:ext uri="{FF2B5EF4-FFF2-40B4-BE49-F238E27FC236}">
                  <a16:creationId xmlns:a16="http://schemas.microsoft.com/office/drawing/2014/main" id="{59809B04-BF83-7340-889D-BCDA1E242967}"/>
                </a:ext>
              </a:extLst>
            </p:cNvPr>
            <p:cNvGrpSpPr/>
            <p:nvPr/>
          </p:nvGrpSpPr>
          <p:grpSpPr>
            <a:xfrm>
              <a:off x="9727877" y="4703993"/>
              <a:ext cx="107244" cy="278257"/>
              <a:chOff x="9727877" y="4703993"/>
              <a:chExt cx="107244" cy="278257"/>
            </a:xfrm>
            <a:solidFill>
              <a:srgbClr val="747373"/>
            </a:solidFill>
          </p:grpSpPr>
          <p:sp>
            <p:nvSpPr>
              <p:cNvPr id="300" name="Graphic 114">
                <a:extLst>
                  <a:ext uri="{FF2B5EF4-FFF2-40B4-BE49-F238E27FC236}">
                    <a16:creationId xmlns:a16="http://schemas.microsoft.com/office/drawing/2014/main" id="{B335C024-D865-5545-8D03-BAE9C510D2DE}"/>
                  </a:ext>
                </a:extLst>
              </p:cNvPr>
              <p:cNvSpPr/>
              <p:nvPr/>
            </p:nvSpPr>
            <p:spPr>
              <a:xfrm>
                <a:off x="9727877"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337"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1" name="Graphic 114">
                <a:extLst>
                  <a:ext uri="{FF2B5EF4-FFF2-40B4-BE49-F238E27FC236}">
                    <a16:creationId xmlns:a16="http://schemas.microsoft.com/office/drawing/2014/main" id="{6EA42188-7C06-5B4F-B3A9-37509BBA43D4}"/>
                  </a:ext>
                </a:extLst>
              </p:cNvPr>
              <p:cNvSpPr/>
              <p:nvPr/>
            </p:nvSpPr>
            <p:spPr>
              <a:xfrm>
                <a:off x="9759516" y="4703993"/>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2" name="Graphic 114">
              <a:extLst>
                <a:ext uri="{FF2B5EF4-FFF2-40B4-BE49-F238E27FC236}">
                  <a16:creationId xmlns:a16="http://schemas.microsoft.com/office/drawing/2014/main" id="{E8EC2035-FB5F-4E49-A04B-E16DE76B8115}"/>
                </a:ext>
              </a:extLst>
            </p:cNvPr>
            <p:cNvGrpSpPr/>
            <p:nvPr/>
          </p:nvGrpSpPr>
          <p:grpSpPr>
            <a:xfrm>
              <a:off x="10042865" y="4703993"/>
              <a:ext cx="107244" cy="278257"/>
              <a:chOff x="10042865" y="4703993"/>
              <a:chExt cx="107244" cy="278257"/>
            </a:xfrm>
            <a:solidFill>
              <a:srgbClr val="747373"/>
            </a:solidFill>
          </p:grpSpPr>
          <p:sp>
            <p:nvSpPr>
              <p:cNvPr id="298" name="Graphic 114">
                <a:extLst>
                  <a:ext uri="{FF2B5EF4-FFF2-40B4-BE49-F238E27FC236}">
                    <a16:creationId xmlns:a16="http://schemas.microsoft.com/office/drawing/2014/main" id="{160BE630-90C5-4541-85CD-389F91527E69}"/>
                  </a:ext>
                </a:extLst>
              </p:cNvPr>
              <p:cNvSpPr/>
              <p:nvPr/>
            </p:nvSpPr>
            <p:spPr>
              <a:xfrm>
                <a:off x="10042865"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4"/>
                    </a:cubicBezTo>
                    <a:cubicBezTo>
                      <a:pt x="107263" y="76215"/>
                      <a:pt x="107263" y="54186"/>
                      <a:pt x="107189" y="32231"/>
                    </a:cubicBezTo>
                    <a:cubicBezTo>
                      <a:pt x="107337" y="14489"/>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9" name="Graphic 114">
                <a:extLst>
                  <a:ext uri="{FF2B5EF4-FFF2-40B4-BE49-F238E27FC236}">
                    <a16:creationId xmlns:a16="http://schemas.microsoft.com/office/drawing/2014/main" id="{AC0B15C7-15F3-E445-9474-237D4575B60D}"/>
                  </a:ext>
                </a:extLst>
              </p:cNvPr>
              <p:cNvSpPr/>
              <p:nvPr/>
            </p:nvSpPr>
            <p:spPr>
              <a:xfrm>
                <a:off x="10074505" y="4703993"/>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3" name="Graphic 114">
              <a:extLst>
                <a:ext uri="{FF2B5EF4-FFF2-40B4-BE49-F238E27FC236}">
                  <a16:creationId xmlns:a16="http://schemas.microsoft.com/office/drawing/2014/main" id="{13BB0855-F5F7-0143-AB31-EB1A1CD71BC6}"/>
                </a:ext>
              </a:extLst>
            </p:cNvPr>
            <p:cNvGrpSpPr/>
            <p:nvPr/>
          </p:nvGrpSpPr>
          <p:grpSpPr>
            <a:xfrm>
              <a:off x="9560869" y="5019943"/>
              <a:ext cx="125994" cy="278102"/>
              <a:chOff x="9560869" y="5019943"/>
              <a:chExt cx="125994" cy="278102"/>
            </a:xfrm>
            <a:solidFill>
              <a:srgbClr val="747373"/>
            </a:solidFill>
          </p:grpSpPr>
          <p:sp>
            <p:nvSpPr>
              <p:cNvPr id="296" name="Graphic 114">
                <a:extLst>
                  <a:ext uri="{FF2B5EF4-FFF2-40B4-BE49-F238E27FC236}">
                    <a16:creationId xmlns:a16="http://schemas.microsoft.com/office/drawing/2014/main" id="{E7A6F659-5D51-8C48-BBDF-4A055660AF0D}"/>
                  </a:ext>
                </a:extLst>
              </p:cNvPr>
              <p:cNvSpPr/>
              <p:nvPr/>
            </p:nvSpPr>
            <p:spPr>
              <a:xfrm>
                <a:off x="9560869"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97" name="Graphic 114">
                <a:extLst>
                  <a:ext uri="{FF2B5EF4-FFF2-40B4-BE49-F238E27FC236}">
                    <a16:creationId xmlns:a16="http://schemas.microsoft.com/office/drawing/2014/main" id="{126B6146-6392-A045-8B9B-17B005C4ECB2}"/>
                  </a:ext>
                </a:extLst>
              </p:cNvPr>
              <p:cNvSpPr/>
              <p:nvPr/>
            </p:nvSpPr>
            <p:spPr>
              <a:xfrm>
                <a:off x="9601837"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4" name="Graphic 114">
              <a:extLst>
                <a:ext uri="{FF2B5EF4-FFF2-40B4-BE49-F238E27FC236}">
                  <a16:creationId xmlns:a16="http://schemas.microsoft.com/office/drawing/2014/main" id="{E9B22085-8D0A-CF49-AD00-A460FBDC6BB7}"/>
                </a:ext>
              </a:extLst>
            </p:cNvPr>
            <p:cNvGrpSpPr/>
            <p:nvPr/>
          </p:nvGrpSpPr>
          <p:grpSpPr>
            <a:xfrm>
              <a:off x="9412888" y="5018760"/>
              <a:ext cx="107244" cy="278183"/>
              <a:chOff x="9412888" y="5018760"/>
              <a:chExt cx="107244" cy="278183"/>
            </a:xfrm>
            <a:solidFill>
              <a:srgbClr val="747373"/>
            </a:solidFill>
          </p:grpSpPr>
          <p:sp>
            <p:nvSpPr>
              <p:cNvPr id="294" name="Graphic 114">
                <a:extLst>
                  <a:ext uri="{FF2B5EF4-FFF2-40B4-BE49-F238E27FC236}">
                    <a16:creationId xmlns:a16="http://schemas.microsoft.com/office/drawing/2014/main" id="{A16779B3-BE63-F546-AC23-2B3C55A4906F}"/>
                  </a:ext>
                </a:extLst>
              </p:cNvPr>
              <p:cNvSpPr/>
              <p:nvPr/>
            </p:nvSpPr>
            <p:spPr>
              <a:xfrm>
                <a:off x="9412888"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5" name="Graphic 114">
                <a:extLst>
                  <a:ext uri="{FF2B5EF4-FFF2-40B4-BE49-F238E27FC236}">
                    <a16:creationId xmlns:a16="http://schemas.microsoft.com/office/drawing/2014/main" id="{74DB0029-D3B5-7F4B-8C43-EA15FB457E44}"/>
                  </a:ext>
                </a:extLst>
              </p:cNvPr>
              <p:cNvSpPr/>
              <p:nvPr/>
            </p:nvSpPr>
            <p:spPr>
              <a:xfrm>
                <a:off x="9444601" y="5018760"/>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5" name="Graphic 114">
              <a:extLst>
                <a:ext uri="{FF2B5EF4-FFF2-40B4-BE49-F238E27FC236}">
                  <a16:creationId xmlns:a16="http://schemas.microsoft.com/office/drawing/2014/main" id="{3AFD5E2B-233B-5F4F-B949-D4F1C5BD8E92}"/>
                </a:ext>
              </a:extLst>
            </p:cNvPr>
            <p:cNvGrpSpPr/>
            <p:nvPr/>
          </p:nvGrpSpPr>
          <p:grpSpPr>
            <a:xfrm>
              <a:off x="9875857" y="5019943"/>
              <a:ext cx="125994" cy="278102"/>
              <a:chOff x="9875857" y="5019943"/>
              <a:chExt cx="125994" cy="278102"/>
            </a:xfrm>
            <a:solidFill>
              <a:srgbClr val="747373"/>
            </a:solidFill>
          </p:grpSpPr>
          <p:sp>
            <p:nvSpPr>
              <p:cNvPr id="292" name="Graphic 114">
                <a:extLst>
                  <a:ext uri="{FF2B5EF4-FFF2-40B4-BE49-F238E27FC236}">
                    <a16:creationId xmlns:a16="http://schemas.microsoft.com/office/drawing/2014/main" id="{2481F994-5BD2-D04E-9BC0-8470F0D53D51}"/>
                  </a:ext>
                </a:extLst>
              </p:cNvPr>
              <p:cNvSpPr/>
              <p:nvPr/>
            </p:nvSpPr>
            <p:spPr>
              <a:xfrm>
                <a:off x="9875857"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93" name="Graphic 114">
                <a:extLst>
                  <a:ext uri="{FF2B5EF4-FFF2-40B4-BE49-F238E27FC236}">
                    <a16:creationId xmlns:a16="http://schemas.microsoft.com/office/drawing/2014/main" id="{D0397282-AD95-E24C-AE0B-551F6CD7F278}"/>
                  </a:ext>
                </a:extLst>
              </p:cNvPr>
              <p:cNvSpPr/>
              <p:nvPr/>
            </p:nvSpPr>
            <p:spPr>
              <a:xfrm>
                <a:off x="9916825"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6" name="Graphic 114">
              <a:extLst>
                <a:ext uri="{FF2B5EF4-FFF2-40B4-BE49-F238E27FC236}">
                  <a16:creationId xmlns:a16="http://schemas.microsoft.com/office/drawing/2014/main" id="{0F88246E-E697-CE46-80AD-AC84CE9A0F11}"/>
                </a:ext>
              </a:extLst>
            </p:cNvPr>
            <p:cNvGrpSpPr/>
            <p:nvPr/>
          </p:nvGrpSpPr>
          <p:grpSpPr>
            <a:xfrm>
              <a:off x="9727877" y="5018760"/>
              <a:ext cx="107244" cy="278183"/>
              <a:chOff x="9727877" y="5018760"/>
              <a:chExt cx="107244" cy="278183"/>
            </a:xfrm>
            <a:solidFill>
              <a:srgbClr val="747373"/>
            </a:solidFill>
          </p:grpSpPr>
          <p:sp>
            <p:nvSpPr>
              <p:cNvPr id="290" name="Graphic 114">
                <a:extLst>
                  <a:ext uri="{FF2B5EF4-FFF2-40B4-BE49-F238E27FC236}">
                    <a16:creationId xmlns:a16="http://schemas.microsoft.com/office/drawing/2014/main" id="{F0F59EC2-442C-6F4E-B464-42250507D88A}"/>
                  </a:ext>
                </a:extLst>
              </p:cNvPr>
              <p:cNvSpPr/>
              <p:nvPr/>
            </p:nvSpPr>
            <p:spPr>
              <a:xfrm>
                <a:off x="9727877"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1" name="Graphic 114">
                <a:extLst>
                  <a:ext uri="{FF2B5EF4-FFF2-40B4-BE49-F238E27FC236}">
                    <a16:creationId xmlns:a16="http://schemas.microsoft.com/office/drawing/2014/main" id="{2F433265-8C67-FE45-87B0-E158C7689767}"/>
                  </a:ext>
                </a:extLst>
              </p:cNvPr>
              <p:cNvSpPr/>
              <p:nvPr/>
            </p:nvSpPr>
            <p:spPr>
              <a:xfrm>
                <a:off x="9759516" y="5018760"/>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7" name="Graphic 114">
              <a:extLst>
                <a:ext uri="{FF2B5EF4-FFF2-40B4-BE49-F238E27FC236}">
                  <a16:creationId xmlns:a16="http://schemas.microsoft.com/office/drawing/2014/main" id="{2FF00BD4-C293-8840-A884-AB6F928DC849}"/>
                </a:ext>
              </a:extLst>
            </p:cNvPr>
            <p:cNvGrpSpPr/>
            <p:nvPr/>
          </p:nvGrpSpPr>
          <p:grpSpPr>
            <a:xfrm>
              <a:off x="10042865" y="5018760"/>
              <a:ext cx="107244" cy="278183"/>
              <a:chOff x="10042865" y="5018760"/>
              <a:chExt cx="107244" cy="278183"/>
            </a:xfrm>
            <a:solidFill>
              <a:srgbClr val="747373"/>
            </a:solidFill>
          </p:grpSpPr>
          <p:sp>
            <p:nvSpPr>
              <p:cNvPr id="288" name="Graphic 114">
                <a:extLst>
                  <a:ext uri="{FF2B5EF4-FFF2-40B4-BE49-F238E27FC236}">
                    <a16:creationId xmlns:a16="http://schemas.microsoft.com/office/drawing/2014/main" id="{7E58F10B-95C1-EE42-B0DB-8BE9A5C5D1A7}"/>
                  </a:ext>
                </a:extLst>
              </p:cNvPr>
              <p:cNvSpPr/>
              <p:nvPr/>
            </p:nvSpPr>
            <p:spPr>
              <a:xfrm>
                <a:off x="10042865"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89" name="Graphic 114">
                <a:extLst>
                  <a:ext uri="{FF2B5EF4-FFF2-40B4-BE49-F238E27FC236}">
                    <a16:creationId xmlns:a16="http://schemas.microsoft.com/office/drawing/2014/main" id="{EB02CDF9-6EB8-1745-BADF-2D0031030E2D}"/>
                  </a:ext>
                </a:extLst>
              </p:cNvPr>
              <p:cNvSpPr/>
              <p:nvPr/>
            </p:nvSpPr>
            <p:spPr>
              <a:xfrm>
                <a:off x="10074505" y="5018760"/>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sp>
        <p:nvSpPr>
          <p:cNvPr id="318" name="Tekstvak 317">
            <a:extLst>
              <a:ext uri="{FF2B5EF4-FFF2-40B4-BE49-F238E27FC236}">
                <a16:creationId xmlns:a16="http://schemas.microsoft.com/office/drawing/2014/main" id="{B91B0497-3DBD-0C43-A393-FD5861F2E6CB}"/>
              </a:ext>
            </a:extLst>
          </p:cNvPr>
          <p:cNvSpPr txBox="1"/>
          <p:nvPr/>
        </p:nvSpPr>
        <p:spPr>
          <a:xfrm>
            <a:off x="9285695" y="5642655"/>
            <a:ext cx="434734" cy="276999"/>
          </a:xfrm>
          <a:prstGeom prst="rect">
            <a:avLst/>
          </a:prstGeom>
          <a:noFill/>
        </p:spPr>
        <p:txBody>
          <a:bodyPr wrap="none" rtlCol="0">
            <a:spAutoFit/>
          </a:bodyPr>
          <a:lstStyle/>
          <a:p>
            <a:r>
              <a:rPr lang="nl-NL" sz="1200" dirty="0">
                <a:latin typeface="VAG Rounded Std Thin" panose="020F0402020204020204" pitchFamily="34" charset="0"/>
              </a:rPr>
              <a:t>ZZP</a:t>
            </a:r>
          </a:p>
        </p:txBody>
      </p:sp>
      <p:cxnSp>
        <p:nvCxnSpPr>
          <p:cNvPr id="319" name="Rechte verbindingslijn met pijl 318">
            <a:extLst>
              <a:ext uri="{FF2B5EF4-FFF2-40B4-BE49-F238E27FC236}">
                <a16:creationId xmlns:a16="http://schemas.microsoft.com/office/drawing/2014/main" id="{868C6299-FA96-BE4D-B369-547316FE7660}"/>
              </a:ext>
            </a:extLst>
          </p:cNvPr>
          <p:cNvCxnSpPr>
            <a:cxnSpLocks/>
            <a:stCxn id="206" idx="6"/>
          </p:cNvCxnSpPr>
          <p:nvPr/>
        </p:nvCxnSpPr>
        <p:spPr>
          <a:xfrm>
            <a:off x="5975699" y="4551607"/>
            <a:ext cx="2950213" cy="1347426"/>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22" name="Tekstvak 321">
            <a:extLst>
              <a:ext uri="{FF2B5EF4-FFF2-40B4-BE49-F238E27FC236}">
                <a16:creationId xmlns:a16="http://schemas.microsoft.com/office/drawing/2014/main" id="{4DF73CEE-CB16-E84F-B0EF-028EB09BAECD}"/>
              </a:ext>
            </a:extLst>
          </p:cNvPr>
          <p:cNvSpPr txBox="1"/>
          <p:nvPr/>
        </p:nvSpPr>
        <p:spPr>
          <a:xfrm>
            <a:off x="4253660" y="5090585"/>
            <a:ext cx="1889004" cy="1015663"/>
          </a:xfrm>
          <a:prstGeom prst="rect">
            <a:avLst/>
          </a:prstGeom>
          <a:noFill/>
        </p:spPr>
        <p:txBody>
          <a:bodyPr wrap="square" rtlCol="0">
            <a:spAutoFit/>
          </a:bodyPr>
          <a:lstStyle/>
          <a:p>
            <a:pPr marL="28575">
              <a:buClr>
                <a:srgbClr val="E26207"/>
              </a:buClr>
            </a:pPr>
            <a:r>
              <a:rPr lang="nl-NL" sz="1200" dirty="0">
                <a:latin typeface="VAG Rounded Std Thin" panose="020F0402020204020204" pitchFamily="34" charset="0"/>
              </a:rPr>
              <a:t>Reactietijd </a:t>
            </a:r>
            <a:r>
              <a:rPr lang="nl-NL" sz="1200" dirty="0" err="1">
                <a:latin typeface="VAG Rounded Std Thin" panose="020F0402020204020204" pitchFamily="34" charset="0"/>
              </a:rPr>
              <a:t>Uzb</a:t>
            </a:r>
            <a:r>
              <a:rPr lang="nl-NL" sz="1200" dirty="0">
                <a:latin typeface="VAG Rounded Std Thin" panose="020F0402020204020204" pitchFamily="34" charset="0"/>
              </a:rPr>
              <a:t> voor doorzending naar Int DVL:</a:t>
            </a:r>
          </a:p>
          <a:p>
            <a:pPr marL="155575" indent="-127000">
              <a:buClr>
                <a:srgbClr val="E26207"/>
              </a:buClr>
              <a:buFont typeface="Arial" panose="020B0604020202020204" pitchFamily="34" charset="0"/>
              <a:buChar char="•"/>
            </a:pPr>
            <a:r>
              <a:rPr lang="nl-NL" sz="1200" dirty="0">
                <a:solidFill>
                  <a:srgbClr val="00B050"/>
                </a:solidFill>
                <a:latin typeface="VAG Rounded Std Thin" panose="020F0402020204020204" pitchFamily="34" charset="0"/>
              </a:rPr>
              <a:t>Groen</a:t>
            </a:r>
            <a:r>
              <a:rPr lang="nl-NL" sz="1200" dirty="0">
                <a:latin typeface="VAG Rounded Std Thin" panose="020F0402020204020204" pitchFamily="34" charset="0"/>
              </a:rPr>
              <a:t>: 5 dagen</a:t>
            </a:r>
          </a:p>
          <a:p>
            <a:pPr marL="155575" indent="-127000">
              <a:buClr>
                <a:srgbClr val="E26207"/>
              </a:buClr>
              <a:buFont typeface="Arial" panose="020B0604020202020204" pitchFamily="34" charset="0"/>
              <a:buChar char="•"/>
            </a:pPr>
            <a:r>
              <a:rPr lang="nl-NL" sz="1200" dirty="0">
                <a:solidFill>
                  <a:schemeClr val="accent2"/>
                </a:solidFill>
                <a:latin typeface="VAG Rounded Std Thin" panose="020F0402020204020204" pitchFamily="34" charset="0"/>
              </a:rPr>
              <a:t>Oranje</a:t>
            </a:r>
            <a:r>
              <a:rPr lang="nl-NL" sz="1200" dirty="0">
                <a:latin typeface="VAG Rounded Std Thin" panose="020F0402020204020204" pitchFamily="34" charset="0"/>
              </a:rPr>
              <a:t>: 2 dagen</a:t>
            </a:r>
          </a:p>
          <a:p>
            <a:pPr marL="155575" indent="-127000">
              <a:buClr>
                <a:srgbClr val="E26207"/>
              </a:buClr>
              <a:buFont typeface="Arial" panose="020B0604020202020204" pitchFamily="34" charset="0"/>
              <a:buChar char="•"/>
            </a:pPr>
            <a:r>
              <a:rPr lang="nl-NL" sz="1200" dirty="0">
                <a:solidFill>
                  <a:srgbClr val="FF0000"/>
                </a:solidFill>
                <a:latin typeface="VAG Rounded Std Thin" panose="020F0402020204020204" pitchFamily="34" charset="0"/>
              </a:rPr>
              <a:t>Rood</a:t>
            </a:r>
            <a:r>
              <a:rPr lang="nl-NL" sz="1200" dirty="0">
                <a:latin typeface="VAG Rounded Std Thin" panose="020F0402020204020204" pitchFamily="34" charset="0"/>
              </a:rPr>
              <a:t>: direct</a:t>
            </a:r>
          </a:p>
        </p:txBody>
      </p:sp>
      <p:sp>
        <p:nvSpPr>
          <p:cNvPr id="47" name="Pentagon 42">
            <a:extLst>
              <a:ext uri="{FF2B5EF4-FFF2-40B4-BE49-F238E27FC236}">
                <a16:creationId xmlns:a16="http://schemas.microsoft.com/office/drawing/2014/main" id="{EC1591B5-DE53-56B0-7EE1-83E6D357C59E}"/>
              </a:ext>
            </a:extLst>
          </p:cNvPr>
          <p:cNvSpPr/>
          <p:nvPr>
            <p:custDataLst>
              <p:tags r:id="rId1"/>
            </p:custDataLst>
          </p:nvPr>
        </p:nvSpPr>
        <p:spPr bwMode="gray">
          <a:xfrm>
            <a:off x="2972173" y="3288162"/>
            <a:ext cx="619490" cy="2172274"/>
          </a:xfrm>
          <a:prstGeom prst="homePlate">
            <a:avLst>
              <a:gd name="adj" fmla="val 13365"/>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93600" anchor="ctr" anchorCtr="0">
            <a:noAutofit/>
          </a:bodyPr>
          <a:lstStyle/>
          <a:p>
            <a:pPr algn="ctr" defTabSz="358776" rtl="0" fontAlgn="base">
              <a:spcBef>
                <a:spcPct val="0"/>
              </a:spcBef>
              <a:spcAft>
                <a:spcPct val="0"/>
              </a:spcAft>
              <a:defRPr/>
            </a:pPr>
            <a:r>
              <a:rPr lang="en-US" sz="1200" b="1" kern="1200" dirty="0">
                <a:solidFill>
                  <a:prstClr val="black"/>
                </a:solidFill>
                <a:latin typeface="VAG Rounded Std Thin" panose="020F0402020204020204" pitchFamily="34" charset="0"/>
                <a:cs typeface="Calibri" panose="020F0502020204030204" pitchFamily="34" charset="0"/>
              </a:rPr>
              <a:t>ATS </a:t>
            </a:r>
          </a:p>
          <a:p>
            <a:pPr algn="ctr" defTabSz="358776" rtl="0" fontAlgn="base">
              <a:spcBef>
                <a:spcPct val="0"/>
              </a:spcBef>
              <a:spcAft>
                <a:spcPct val="0"/>
              </a:spcAft>
              <a:defRPr/>
            </a:pPr>
            <a:r>
              <a:rPr lang="en-US" sz="1200" b="1" dirty="0">
                <a:solidFill>
                  <a:prstClr val="black"/>
                </a:solidFill>
                <a:latin typeface="VAG Rounded Std Thin" panose="020F0402020204020204" pitchFamily="34" charset="0"/>
                <a:cs typeface="Calibri" panose="020F0502020204030204" pitchFamily="34" charset="0"/>
              </a:rPr>
              <a:t>EMPLY</a:t>
            </a:r>
            <a:endParaRPr lang="en-US" sz="1200" b="1" kern="1200" dirty="0">
              <a:solidFill>
                <a:prstClr val="black"/>
              </a:solidFill>
              <a:latin typeface="VAG Rounded Std Thin" panose="020F0402020204020204" pitchFamily="34" charset="0"/>
              <a:cs typeface="Calibri" panose="020F0502020204030204" pitchFamily="34" charset="0"/>
            </a:endParaRPr>
          </a:p>
        </p:txBody>
      </p:sp>
      <p:sp>
        <p:nvSpPr>
          <p:cNvPr id="56" name="Ovaal 55">
            <a:extLst>
              <a:ext uri="{FF2B5EF4-FFF2-40B4-BE49-F238E27FC236}">
                <a16:creationId xmlns:a16="http://schemas.microsoft.com/office/drawing/2014/main" id="{9C730312-5E46-4238-D44A-0EDBE7B1AC4D}"/>
              </a:ext>
            </a:extLst>
          </p:cNvPr>
          <p:cNvSpPr/>
          <p:nvPr/>
        </p:nvSpPr>
        <p:spPr>
          <a:xfrm>
            <a:off x="4386999" y="3336214"/>
            <a:ext cx="661996" cy="45643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200" b="1" dirty="0" err="1">
                <a:latin typeface="VAG Rounded Std Thin" panose="020F0402020204020204" pitchFamily="34" charset="0"/>
              </a:rPr>
              <a:t>Uzb</a:t>
            </a:r>
            <a:endParaRPr lang="nl-NL" sz="1200" b="1" dirty="0">
              <a:latin typeface="VAG Rounded Std Thin" panose="020F0402020204020204" pitchFamily="34" charset="0"/>
            </a:endParaRPr>
          </a:p>
        </p:txBody>
      </p:sp>
      <p:cxnSp>
        <p:nvCxnSpPr>
          <p:cNvPr id="61" name="Rechte verbindingslijn met pijl 60">
            <a:extLst>
              <a:ext uri="{FF2B5EF4-FFF2-40B4-BE49-F238E27FC236}">
                <a16:creationId xmlns:a16="http://schemas.microsoft.com/office/drawing/2014/main" id="{BCE8B3F7-9CF0-92D7-F486-E59FDE283304}"/>
              </a:ext>
            </a:extLst>
          </p:cNvPr>
          <p:cNvCxnSpPr>
            <a:cxnSpLocks/>
            <a:stCxn id="47" idx="3"/>
          </p:cNvCxnSpPr>
          <p:nvPr/>
        </p:nvCxnSpPr>
        <p:spPr>
          <a:xfrm flipV="1">
            <a:off x="3591663" y="3716829"/>
            <a:ext cx="947736" cy="657470"/>
          </a:xfrm>
          <a:prstGeom prst="straightConnector1">
            <a:avLst/>
          </a:prstGeom>
          <a:ln w="508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bogen verbindingslijn 64">
            <a:extLst>
              <a:ext uri="{FF2B5EF4-FFF2-40B4-BE49-F238E27FC236}">
                <a16:creationId xmlns:a16="http://schemas.microsoft.com/office/drawing/2014/main" id="{606EB47A-53DF-4331-F2CE-2D7A47567072}"/>
              </a:ext>
            </a:extLst>
          </p:cNvPr>
          <p:cNvCxnSpPr>
            <a:cxnSpLocks/>
            <a:stCxn id="56" idx="4"/>
            <a:endCxn id="206" idx="0"/>
          </p:cNvCxnSpPr>
          <p:nvPr/>
        </p:nvCxnSpPr>
        <p:spPr>
          <a:xfrm rot="16200000" flipH="1">
            <a:off x="4915975" y="3594666"/>
            <a:ext cx="530748" cy="926704"/>
          </a:xfrm>
          <a:prstGeom prst="bentConnector3">
            <a:avLst>
              <a:gd name="adj1" fmla="val 50000"/>
            </a:avLst>
          </a:prstGeom>
          <a:ln w="44450" cmpd="dbl">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Rechte verbindingslijn met pijl 67">
            <a:extLst>
              <a:ext uri="{FF2B5EF4-FFF2-40B4-BE49-F238E27FC236}">
                <a16:creationId xmlns:a16="http://schemas.microsoft.com/office/drawing/2014/main" id="{75F9C70C-1922-C7AA-6DB2-BB10E8C7035B}"/>
              </a:ext>
            </a:extLst>
          </p:cNvPr>
          <p:cNvCxnSpPr>
            <a:cxnSpLocks/>
            <a:endCxn id="56" idx="4"/>
          </p:cNvCxnSpPr>
          <p:nvPr/>
        </p:nvCxnSpPr>
        <p:spPr>
          <a:xfrm flipV="1">
            <a:off x="3590630" y="3792644"/>
            <a:ext cx="1127367" cy="581655"/>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Rechte verbindingslijn met pijl 72">
            <a:extLst>
              <a:ext uri="{FF2B5EF4-FFF2-40B4-BE49-F238E27FC236}">
                <a16:creationId xmlns:a16="http://schemas.microsoft.com/office/drawing/2014/main" id="{16703361-5D75-CF53-6672-2BFA323AD220}"/>
              </a:ext>
            </a:extLst>
          </p:cNvPr>
          <p:cNvCxnSpPr>
            <a:cxnSpLocks/>
            <a:stCxn id="47" idx="3"/>
            <a:endCxn id="206" idx="2"/>
          </p:cNvCxnSpPr>
          <p:nvPr/>
        </p:nvCxnSpPr>
        <p:spPr>
          <a:xfrm>
            <a:off x="3591663" y="4374299"/>
            <a:ext cx="1722040" cy="17730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0" name="Ovaal 79">
            <a:extLst>
              <a:ext uri="{FF2B5EF4-FFF2-40B4-BE49-F238E27FC236}">
                <a16:creationId xmlns:a16="http://schemas.microsoft.com/office/drawing/2014/main" id="{9B420509-B519-FB1E-2675-1F50C8A74F2F}"/>
              </a:ext>
            </a:extLst>
          </p:cNvPr>
          <p:cNvSpPr/>
          <p:nvPr/>
        </p:nvSpPr>
        <p:spPr>
          <a:xfrm>
            <a:off x="7005918" y="4244121"/>
            <a:ext cx="506896" cy="35401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cxnSp>
        <p:nvCxnSpPr>
          <p:cNvPr id="87" name="Rechte verbindingslijn met pijl 86">
            <a:extLst>
              <a:ext uri="{FF2B5EF4-FFF2-40B4-BE49-F238E27FC236}">
                <a16:creationId xmlns:a16="http://schemas.microsoft.com/office/drawing/2014/main" id="{E18BF2CC-CEA4-1745-38D4-CF0C077A39B6}"/>
              </a:ext>
            </a:extLst>
          </p:cNvPr>
          <p:cNvCxnSpPr>
            <a:cxnSpLocks/>
            <a:stCxn id="203" idx="6"/>
          </p:cNvCxnSpPr>
          <p:nvPr/>
        </p:nvCxnSpPr>
        <p:spPr>
          <a:xfrm>
            <a:off x="7485507" y="5701221"/>
            <a:ext cx="1458321" cy="259977"/>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Rechte verbindingslijn met pijl 99">
            <a:extLst>
              <a:ext uri="{FF2B5EF4-FFF2-40B4-BE49-F238E27FC236}">
                <a16:creationId xmlns:a16="http://schemas.microsoft.com/office/drawing/2014/main" id="{8CFEFBDF-6090-6EBA-526C-9B76D7C6CDB9}"/>
              </a:ext>
            </a:extLst>
          </p:cNvPr>
          <p:cNvCxnSpPr>
            <a:cxnSpLocks/>
            <a:stCxn id="80" idx="6"/>
          </p:cNvCxnSpPr>
          <p:nvPr/>
        </p:nvCxnSpPr>
        <p:spPr>
          <a:xfrm>
            <a:off x="7512814" y="4421128"/>
            <a:ext cx="1469416" cy="219362"/>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Gebogen verbindingslijn 109">
            <a:extLst>
              <a:ext uri="{FF2B5EF4-FFF2-40B4-BE49-F238E27FC236}">
                <a16:creationId xmlns:a16="http://schemas.microsoft.com/office/drawing/2014/main" id="{FAABCE0F-14EA-CA52-5483-29DCE1839D9D}"/>
              </a:ext>
            </a:extLst>
          </p:cNvPr>
          <p:cNvCxnSpPr>
            <a:cxnSpLocks/>
          </p:cNvCxnSpPr>
          <p:nvPr/>
        </p:nvCxnSpPr>
        <p:spPr>
          <a:xfrm rot="16200000" flipH="1">
            <a:off x="4914951" y="3594665"/>
            <a:ext cx="530748" cy="926704"/>
          </a:xfrm>
          <a:prstGeom prst="bentConnector3">
            <a:avLst>
              <a:gd name="adj1" fmla="val 50000"/>
            </a:avLst>
          </a:prstGeom>
          <a:ln w="19050" cmpd="sng">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 name="Tekstvak 1">
            <a:extLst>
              <a:ext uri="{FF2B5EF4-FFF2-40B4-BE49-F238E27FC236}">
                <a16:creationId xmlns:a16="http://schemas.microsoft.com/office/drawing/2014/main" id="{019C24D1-39D1-5296-4114-B1DC320FB98B}"/>
              </a:ext>
            </a:extLst>
          </p:cNvPr>
          <p:cNvSpPr txBox="1"/>
          <p:nvPr/>
        </p:nvSpPr>
        <p:spPr>
          <a:xfrm>
            <a:off x="8268752" y="6556416"/>
            <a:ext cx="2148922" cy="261610"/>
          </a:xfrm>
          <a:prstGeom prst="rect">
            <a:avLst/>
          </a:prstGeom>
          <a:noFill/>
        </p:spPr>
        <p:txBody>
          <a:bodyPr wrap="square" rtlCol="0">
            <a:spAutoFit/>
          </a:bodyPr>
          <a:lstStyle/>
          <a:p>
            <a:r>
              <a:rPr lang="nl-NL" sz="1100" dirty="0">
                <a:solidFill>
                  <a:schemeClr val="tx1"/>
                </a:solidFill>
                <a:latin typeface="VAG Rounded Std Thin" panose="020F0402020204020204" pitchFamily="34" charset="0"/>
              </a:rPr>
              <a:t>©2023 </a:t>
            </a:r>
            <a:r>
              <a:rPr lang="nl-NL" sz="1100" dirty="0" err="1">
                <a:solidFill>
                  <a:schemeClr val="tx1"/>
                </a:solidFill>
                <a:latin typeface="VAG Rounded Std Thin" panose="020F0402020204020204" pitchFamily="34" charset="0"/>
              </a:rPr>
              <a:t>Labor</a:t>
            </a:r>
            <a:r>
              <a:rPr lang="nl-NL" sz="1100" dirty="0">
                <a:solidFill>
                  <a:schemeClr val="tx1"/>
                </a:solidFill>
                <a:latin typeface="VAG Rounded Std Thin" panose="020F0402020204020204" pitchFamily="34" charset="0"/>
              </a:rPr>
              <a:t> </a:t>
            </a:r>
            <a:r>
              <a:rPr lang="nl-NL" sz="1100" dirty="0" err="1">
                <a:solidFill>
                  <a:schemeClr val="tx1"/>
                </a:solidFill>
                <a:latin typeface="VAG Rounded Std Thin" panose="020F0402020204020204" pitchFamily="34" charset="0"/>
              </a:rPr>
              <a:t>Redimo</a:t>
            </a:r>
            <a:r>
              <a:rPr lang="nl-NL" sz="1100" dirty="0">
                <a:solidFill>
                  <a:schemeClr val="tx1"/>
                </a:solidFill>
                <a:latin typeface="VAG Rounded Std Thin" panose="020F0402020204020204" pitchFamily="34" charset="0"/>
              </a:rPr>
              <a:t>, Loosdrecht</a:t>
            </a:r>
            <a:endParaRPr lang="nl-NL" sz="1100" dirty="0"/>
          </a:p>
        </p:txBody>
      </p:sp>
      <p:sp>
        <p:nvSpPr>
          <p:cNvPr id="8" name="Titel 7"/>
          <p:cNvSpPr>
            <a:spLocks noGrp="1"/>
          </p:cNvSpPr>
          <p:nvPr>
            <p:ph type="title"/>
          </p:nvPr>
        </p:nvSpPr>
        <p:spPr>
          <a:xfrm>
            <a:off x="755520" y="622976"/>
            <a:ext cx="10944226" cy="606442"/>
          </a:xfrm>
        </p:spPr>
        <p:txBody>
          <a:bodyPr/>
          <a:lstStyle/>
          <a:p>
            <a:pPr algn="r"/>
            <a:br>
              <a:rPr lang="nl-NL" sz="1800">
                <a:solidFill>
                  <a:schemeClr val="accent1">
                    <a:lumMod val="50000"/>
                  </a:schemeClr>
                </a:solidFill>
                <a:latin typeface="+mn-lt"/>
              </a:rPr>
            </a:br>
            <a:endParaRPr lang="nl-NL" sz="1800">
              <a:latin typeface="+mn-lt"/>
            </a:endParaRPr>
          </a:p>
        </p:txBody>
      </p:sp>
      <p:sp>
        <p:nvSpPr>
          <p:cNvPr id="10" name="Tijdelijke aanduiding voor tekst 9"/>
          <p:cNvSpPr>
            <a:spLocks noGrp="1"/>
          </p:cNvSpPr>
          <p:nvPr>
            <p:ph type="body" idx="1"/>
          </p:nvPr>
        </p:nvSpPr>
        <p:spPr>
          <a:xfrm>
            <a:off x="481194" y="1448082"/>
            <a:ext cx="10944224" cy="318436"/>
          </a:xfrm>
        </p:spPr>
        <p:txBody>
          <a:bodyPr/>
          <a:lstStyle/>
          <a:p>
            <a:r>
              <a:rPr lang="nl-NL" sz="1800" b="0">
                <a:latin typeface="TheSans-Plain"/>
                <a:ea typeface="Verdana" panose="020B0604030504040204" pitchFamily="34" charset="0"/>
                <a:cs typeface="Verdana" panose="020B0604030504040204" pitchFamily="34" charset="0"/>
              </a:rPr>
              <a:t>Aanvragen voor externe inhuur t/m schaal 7 worden uitgezet bij Uitzendbureau (Uzb) en eventueel (tegelijkertijd) bij de Intermediaire dienstverlener (Int DVL).  </a:t>
            </a:r>
          </a:p>
          <a:p>
            <a:endParaRPr lang="nl-NL"/>
          </a:p>
        </p:txBody>
      </p:sp>
      <p:sp>
        <p:nvSpPr>
          <p:cNvPr id="267" name="Tekstvak 266"/>
          <p:cNvSpPr txBox="1"/>
          <p:nvPr/>
        </p:nvSpPr>
        <p:spPr>
          <a:xfrm>
            <a:off x="5975699" y="428368"/>
            <a:ext cx="5845599" cy="830997"/>
          </a:xfrm>
          <a:prstGeom prst="rect">
            <a:avLst/>
          </a:prstGeom>
          <a:noFill/>
        </p:spPr>
        <p:txBody>
          <a:bodyPr wrap="square" lIns="0" tIns="0" rIns="0" bIns="0" rtlCol="0">
            <a:spAutoFit/>
          </a:bodyPr>
          <a:lstStyle/>
          <a:p>
            <a:pPr algn="r"/>
            <a:r>
              <a:rPr lang="nl-NL" b="1" dirty="0">
                <a:solidFill>
                  <a:schemeClr val="accent1">
                    <a:lumMod val="50000"/>
                  </a:schemeClr>
                </a:solidFill>
              </a:rPr>
              <a:t>De Aanbesteding van 2023 (uitzendbureau en intermediair dienstverlener t/m schaal 7)</a:t>
            </a:r>
          </a:p>
          <a:p>
            <a:pPr algn="r"/>
            <a:endParaRPr lang="nl-NL" b="1" dirty="0">
              <a:solidFill>
                <a:schemeClr val="accent1">
                  <a:lumMod val="50000"/>
                </a:schemeClr>
              </a:solidFill>
            </a:endParaRPr>
          </a:p>
        </p:txBody>
      </p:sp>
    </p:spTree>
    <p:extLst>
      <p:ext uri="{BB962C8B-B14F-4D97-AF65-F5344CB8AC3E}">
        <p14:creationId xmlns:p14="http://schemas.microsoft.com/office/powerpoint/2010/main" val="1625221691"/>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E6C089-C7E1-D6E6-C9C1-4241847295EA}"/>
              </a:ext>
            </a:extLst>
          </p:cNvPr>
          <p:cNvSpPr>
            <a:spLocks noGrp="1"/>
          </p:cNvSpPr>
          <p:nvPr>
            <p:ph type="title"/>
          </p:nvPr>
        </p:nvSpPr>
        <p:spPr/>
        <p:txBody>
          <a:bodyPr/>
          <a:lstStyle/>
          <a:p>
            <a:r>
              <a:rPr lang="nl-NL" sz="2400"/>
              <a:t>Voor het COA zijn vandaag aanwezig:</a:t>
            </a:r>
            <a:br>
              <a:rPr lang="nl-NL" sz="2400"/>
            </a:br>
            <a:br>
              <a:rPr lang="nl-NL" sz="2400"/>
            </a:br>
            <a:br>
              <a:rPr lang="nl-NL"/>
            </a:br>
            <a:br>
              <a:rPr lang="nl-NL"/>
            </a:br>
            <a:endParaRPr lang="nl-NL"/>
          </a:p>
        </p:txBody>
      </p:sp>
      <p:sp>
        <p:nvSpPr>
          <p:cNvPr id="10" name="Tijdelijke aanduiding voor tekst 9">
            <a:extLst>
              <a:ext uri="{FF2B5EF4-FFF2-40B4-BE49-F238E27FC236}">
                <a16:creationId xmlns:a16="http://schemas.microsoft.com/office/drawing/2014/main" id="{E9A600F4-C9F6-E118-825B-A5B04101EB80}"/>
              </a:ext>
            </a:extLst>
          </p:cNvPr>
          <p:cNvSpPr>
            <a:spLocks noGrp="1"/>
          </p:cNvSpPr>
          <p:nvPr>
            <p:ph type="body" idx="1"/>
          </p:nvPr>
        </p:nvSpPr>
        <p:spPr/>
        <p:txBody>
          <a:bodyPr/>
          <a:lstStyle/>
          <a:p>
            <a:r>
              <a:rPr lang="nl-NL" sz="1800" b="0" dirty="0"/>
              <a:t>Carl Groenland			Teamhoofd HR&amp;O</a:t>
            </a:r>
          </a:p>
          <a:p>
            <a:r>
              <a:rPr lang="nl-NL" sz="1800" b="0"/>
              <a:t>Hein Machielse</a:t>
            </a:r>
            <a:r>
              <a:rPr lang="nl-NL" sz="1800" b="0" dirty="0"/>
              <a:t>		</a:t>
            </a:r>
            <a:r>
              <a:rPr lang="nl-NL" sz="1800" b="0"/>
              <a:t>	Inkoper</a:t>
            </a:r>
            <a:endParaRPr lang="nl-NL" sz="1800" b="0" dirty="0"/>
          </a:p>
          <a:p>
            <a:r>
              <a:rPr lang="nl-NL" sz="1800" b="0" dirty="0"/>
              <a:t>Tony van </a:t>
            </a:r>
            <a:r>
              <a:rPr lang="nl-NL" sz="1800" b="0"/>
              <a:t>de Bogaard</a:t>
            </a:r>
            <a:r>
              <a:rPr lang="nl-NL" sz="1800" b="0" dirty="0"/>
              <a:t>	 	Adjunct </a:t>
            </a:r>
            <a:r>
              <a:rPr lang="nl-NL" sz="1800" b="0"/>
              <a:t>Teamhoofd  FA  (ISP sourching) </a:t>
            </a:r>
            <a:endParaRPr lang="nl-NL" sz="1800" b="0" dirty="0"/>
          </a:p>
          <a:p>
            <a:r>
              <a:rPr lang="nl-NL" sz="1800" b="0" dirty="0"/>
              <a:t>Siep Scherpel			</a:t>
            </a:r>
            <a:r>
              <a:rPr lang="nl-NL" sz="1800" b="0" dirty="0" err="1"/>
              <a:t>Labor</a:t>
            </a:r>
            <a:r>
              <a:rPr lang="nl-NL" sz="1800" b="0" dirty="0"/>
              <a:t> </a:t>
            </a:r>
            <a:r>
              <a:rPr lang="nl-NL" sz="1800" b="0" dirty="0" err="1"/>
              <a:t>Redimo</a:t>
            </a:r>
            <a:endParaRPr lang="nl-NL" sz="1800" b="0" dirty="0"/>
          </a:p>
          <a:p>
            <a:r>
              <a:rPr lang="nl-NL" sz="1800" b="0" dirty="0"/>
              <a:t>Arjen Veenstra			</a:t>
            </a:r>
            <a:r>
              <a:rPr lang="nl-NL" sz="1800" b="0" dirty="0" err="1"/>
              <a:t>Labor</a:t>
            </a:r>
            <a:r>
              <a:rPr lang="nl-NL" sz="1800" b="0" dirty="0"/>
              <a:t> </a:t>
            </a:r>
            <a:r>
              <a:rPr lang="nl-NL" sz="1800" b="0" dirty="0" err="1"/>
              <a:t>Redimo</a:t>
            </a:r>
            <a:r>
              <a:rPr lang="nl-NL" sz="1800" b="0" dirty="0"/>
              <a:t> </a:t>
            </a:r>
          </a:p>
        </p:txBody>
      </p:sp>
    </p:spTree>
    <p:extLst>
      <p:ext uri="{BB962C8B-B14F-4D97-AF65-F5344CB8AC3E}">
        <p14:creationId xmlns:p14="http://schemas.microsoft.com/office/powerpoint/2010/main" val="8702875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75AF84-8A63-1841-315F-262EA596C087}"/>
              </a:ext>
            </a:extLst>
          </p:cNvPr>
          <p:cNvSpPr>
            <a:spLocks noGrp="1"/>
          </p:cNvSpPr>
          <p:nvPr>
            <p:ph type="title"/>
          </p:nvPr>
        </p:nvSpPr>
        <p:spPr/>
        <p:txBody>
          <a:bodyPr/>
          <a:lstStyle/>
          <a:p>
            <a:r>
              <a:rPr lang="nl-NL" sz="2800"/>
              <a:t>Relevante ontwikkelingen:</a:t>
            </a:r>
          </a:p>
        </p:txBody>
      </p:sp>
      <p:sp>
        <p:nvSpPr>
          <p:cNvPr id="3" name="Tijdelijke aanduiding voor tekst 2">
            <a:extLst>
              <a:ext uri="{FF2B5EF4-FFF2-40B4-BE49-F238E27FC236}">
                <a16:creationId xmlns:a16="http://schemas.microsoft.com/office/drawing/2014/main" id="{C3C28C54-91DB-C6C2-FD63-8C45A05D5FD1}"/>
              </a:ext>
            </a:extLst>
          </p:cNvPr>
          <p:cNvSpPr>
            <a:spLocks noGrp="1"/>
          </p:cNvSpPr>
          <p:nvPr>
            <p:ph type="body" idx="1"/>
          </p:nvPr>
        </p:nvSpPr>
        <p:spPr/>
        <p:txBody>
          <a:bodyPr/>
          <a:lstStyle/>
          <a:p>
            <a:endParaRPr lang="nl-NL" dirty="0"/>
          </a:p>
          <a:p>
            <a:endParaRPr lang="nl-NL" dirty="0"/>
          </a:p>
          <a:p>
            <a:pPr marL="342900" indent="-342900">
              <a:buFont typeface="Arial" panose="020B0604020202020204" pitchFamily="34" charset="0"/>
              <a:buChar char="•"/>
            </a:pPr>
            <a:r>
              <a:rPr lang="nl-NL" sz="1600" dirty="0"/>
              <a:t>Aanschaf nieuwe ERP met go-live op 1/1/2025  (nu SAP straks AFAS) </a:t>
            </a:r>
          </a:p>
          <a:p>
            <a:pPr marL="342900" indent="-342900">
              <a:buFont typeface="Arial" panose="020B0604020202020204" pitchFamily="34" charset="0"/>
              <a:buChar char="•"/>
            </a:pPr>
            <a:r>
              <a:rPr lang="nl-NL" sz="1600" dirty="0"/>
              <a:t>Huidige ATS (</a:t>
            </a:r>
            <a:r>
              <a:rPr lang="nl-NL" sz="1600" dirty="0" err="1"/>
              <a:t>Emply</a:t>
            </a:r>
            <a:r>
              <a:rPr lang="nl-NL" sz="1600" dirty="0"/>
              <a:t>) gaat ook na go live ook voor </a:t>
            </a:r>
            <a:r>
              <a:rPr lang="nl-NL" sz="1600" dirty="0" err="1"/>
              <a:t>sourcing</a:t>
            </a:r>
            <a:r>
              <a:rPr lang="nl-NL" sz="1600" dirty="0"/>
              <a:t> gebruikt worden</a:t>
            </a:r>
          </a:p>
          <a:p>
            <a:pPr marL="342900" indent="-342900">
              <a:buFont typeface="Arial" panose="020B0604020202020204" pitchFamily="34" charset="0"/>
              <a:buChar char="•"/>
            </a:pPr>
            <a:r>
              <a:rPr lang="nl-NL" sz="1600" dirty="0"/>
              <a:t>De inhuur via de mantel “vastgoed en facilitair” zal worden opgenomen in deze aanbesteding broker</a:t>
            </a:r>
          </a:p>
          <a:p>
            <a:pPr marL="342900" indent="-342900">
              <a:buFont typeface="Arial" panose="020B0604020202020204" pitchFamily="34" charset="0"/>
              <a:buChar char="•"/>
            </a:pPr>
            <a:r>
              <a:rPr lang="nl-NL" sz="1600" dirty="0"/>
              <a:t>Mogelijk zal ook de inhuur voor strategische adviesdiensten ook worden opgenomen</a:t>
            </a:r>
          </a:p>
        </p:txBody>
      </p:sp>
    </p:spTree>
    <p:extLst>
      <p:ext uri="{BB962C8B-B14F-4D97-AF65-F5344CB8AC3E}">
        <p14:creationId xmlns:p14="http://schemas.microsoft.com/office/powerpoint/2010/main" val="675979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2">
            <a:extLst>
              <a:ext uri="{FF2B5EF4-FFF2-40B4-BE49-F238E27FC236}">
                <a16:creationId xmlns:a16="http://schemas.microsoft.com/office/drawing/2014/main" id="{3911DDFE-5B8C-4E74-8C89-37553296EB03}"/>
              </a:ext>
            </a:extLst>
          </p:cNvPr>
          <p:cNvSpPr/>
          <p:nvPr/>
        </p:nvSpPr>
        <p:spPr>
          <a:xfrm>
            <a:off x="165553" y="2689062"/>
            <a:ext cx="10140511" cy="3842581"/>
          </a:xfrm>
          <a:custGeom>
            <a:avLst/>
            <a:gdLst>
              <a:gd name="connsiteX0" fmla="*/ 10085831 w 10140511"/>
              <a:gd name="connsiteY0" fmla="*/ 208362 h 208361"/>
              <a:gd name="connsiteX1" fmla="*/ 54756 w 10140511"/>
              <a:gd name="connsiteY1" fmla="*/ 208362 h 208361"/>
              <a:gd name="connsiteX2" fmla="*/ 0 w 10140511"/>
              <a:gd name="connsiteY2" fmla="*/ 153606 h 208361"/>
              <a:gd name="connsiteX3" fmla="*/ 0 w 10140511"/>
              <a:gd name="connsiteY3" fmla="*/ 0 h 208361"/>
              <a:gd name="connsiteX4" fmla="*/ 10140512 w 10140511"/>
              <a:gd name="connsiteY4" fmla="*/ 0 h 208361"/>
              <a:gd name="connsiteX5" fmla="*/ 10140512 w 10140511"/>
              <a:gd name="connsiteY5" fmla="*/ 153606 h 208361"/>
              <a:gd name="connsiteX6" fmla="*/ 10085831 w 10140511"/>
              <a:gd name="connsiteY6" fmla="*/ 208362 h 20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0511" h="208361">
                <a:moveTo>
                  <a:pt x="10085831" y="208362"/>
                </a:moveTo>
                <a:lnTo>
                  <a:pt x="54756" y="208362"/>
                </a:lnTo>
                <a:cubicBezTo>
                  <a:pt x="24522" y="208362"/>
                  <a:pt x="0" y="183839"/>
                  <a:pt x="0" y="153606"/>
                </a:cubicBezTo>
                <a:lnTo>
                  <a:pt x="0" y="0"/>
                </a:lnTo>
                <a:lnTo>
                  <a:pt x="10140512" y="0"/>
                </a:lnTo>
                <a:lnTo>
                  <a:pt x="10140512" y="153606"/>
                </a:lnTo>
                <a:cubicBezTo>
                  <a:pt x="10140588" y="183839"/>
                  <a:pt x="10116066" y="208362"/>
                  <a:pt x="10085831" y="208362"/>
                </a:cubicBezTo>
                <a:close/>
              </a:path>
            </a:pathLst>
          </a:custGeom>
          <a:solidFill>
            <a:srgbClr val="FFFFFF"/>
          </a:solidFill>
          <a:ln w="7614" cap="flat">
            <a:noFill/>
            <a:prstDash val="solid"/>
            <a:miter/>
          </a:ln>
          <a:effectLst>
            <a:outerShdw blurRad="63500" algn="ctr" rotWithShape="0">
              <a:prstClr val="black">
                <a:alpha val="30000"/>
              </a:prstClr>
            </a:outerShdw>
          </a:effectLst>
        </p:spPr>
        <p:txBody>
          <a:bodyPr rtlCol="0" anchor="ctr"/>
          <a:lstStyle/>
          <a:p>
            <a:endParaRPr lang="nl-NL" sz="5000" dirty="0"/>
          </a:p>
        </p:txBody>
      </p:sp>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4"/>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94471" y="6469490"/>
            <a:ext cx="48091" cy="161583"/>
          </a:xfrm>
          <a:prstGeom prst="rect">
            <a:avLst/>
          </a:prstGeom>
          <a:noFill/>
        </p:spPr>
        <p:txBody>
          <a:bodyPr wrap="none" lIns="0" tIns="0" rIns="0" bIns="0" rtlCol="0">
            <a:spAutoFit/>
          </a:bodyPr>
          <a:lstStyle/>
          <a:p>
            <a:pPr algn="ctr"/>
            <a:fld id="{0C24A3A5-0C50-4F40-9A09-C1BD1EE92E28}" type="slidenum">
              <a:rPr lang="nl-NL" sz="1050">
                <a:solidFill>
                  <a:srgbClr val="000000"/>
                </a:solidFill>
                <a:latin typeface="VAG Rounded Std Thin" panose="020F0402020204020204" pitchFamily="34" charset="0"/>
                <a:cs typeface="Arial"/>
                <a:sym typeface="Arial"/>
                <a:rtl val="0"/>
              </a:rPr>
              <a:t>21</a:t>
            </a:fld>
            <a:endParaRPr lang="nl-NL" sz="1050" dirty="0">
              <a:solidFill>
                <a:srgbClr val="000000"/>
              </a:solidFill>
              <a:latin typeface="VAG Rounded Std Thin" panose="020F0402020204020204" pitchFamily="34" charset="0"/>
              <a:cs typeface="Arial"/>
              <a:sym typeface="Arial"/>
              <a:rtl val="0"/>
            </a:endParaRPr>
          </a:p>
        </p:txBody>
      </p:sp>
      <p:sp>
        <p:nvSpPr>
          <p:cNvPr id="14" name="Graphic 2">
            <a:extLst>
              <a:ext uri="{FF2B5EF4-FFF2-40B4-BE49-F238E27FC236}">
                <a16:creationId xmlns:a16="http://schemas.microsoft.com/office/drawing/2014/main" id="{2FE2B808-55A8-4E8E-A942-18B5A21B0FDC}"/>
              </a:ext>
            </a:extLst>
          </p:cNvPr>
          <p:cNvSpPr/>
          <p:nvPr/>
        </p:nvSpPr>
        <p:spPr>
          <a:xfrm>
            <a:off x="2250282" y="2800338"/>
            <a:ext cx="22860" cy="3795602"/>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18" name="Graphic 2">
            <a:extLst>
              <a:ext uri="{FF2B5EF4-FFF2-40B4-BE49-F238E27FC236}">
                <a16:creationId xmlns:a16="http://schemas.microsoft.com/office/drawing/2014/main" id="{1FF651EC-33D7-441B-A6DD-F9741D565B05}"/>
              </a:ext>
            </a:extLst>
          </p:cNvPr>
          <p:cNvSpPr/>
          <p:nvPr/>
        </p:nvSpPr>
        <p:spPr>
          <a:xfrm>
            <a:off x="6293483" y="2800338"/>
            <a:ext cx="22860" cy="3795602"/>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20" name="Graphic 2">
            <a:extLst>
              <a:ext uri="{FF2B5EF4-FFF2-40B4-BE49-F238E27FC236}">
                <a16:creationId xmlns:a16="http://schemas.microsoft.com/office/drawing/2014/main" id="{3EEA1D06-BA3F-4DDE-A2E1-48C40BCEE953}"/>
              </a:ext>
            </a:extLst>
          </p:cNvPr>
          <p:cNvSpPr/>
          <p:nvPr/>
        </p:nvSpPr>
        <p:spPr>
          <a:xfrm>
            <a:off x="8310205" y="2792327"/>
            <a:ext cx="22860" cy="3803613"/>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22" name="Graphic 2">
            <a:extLst>
              <a:ext uri="{FF2B5EF4-FFF2-40B4-BE49-F238E27FC236}">
                <a16:creationId xmlns:a16="http://schemas.microsoft.com/office/drawing/2014/main" id="{E1C283C3-6E73-4DDD-8279-156C1D2A1472}"/>
              </a:ext>
            </a:extLst>
          </p:cNvPr>
          <p:cNvSpPr/>
          <p:nvPr/>
        </p:nvSpPr>
        <p:spPr>
          <a:xfrm>
            <a:off x="4271883" y="2753360"/>
            <a:ext cx="22860" cy="3842581"/>
          </a:xfrm>
          <a:custGeom>
            <a:avLst/>
            <a:gdLst>
              <a:gd name="connsiteX0" fmla="*/ 0 w 7615"/>
              <a:gd name="connsiteY0" fmla="*/ 0 h 3459893"/>
              <a:gd name="connsiteX1" fmla="*/ 0 w 7615"/>
              <a:gd name="connsiteY1" fmla="*/ 3459894 h 3459893"/>
            </a:gdLst>
            <a:ahLst/>
            <a:cxnLst>
              <a:cxn ang="0">
                <a:pos x="connsiteX0" y="connsiteY0"/>
              </a:cxn>
              <a:cxn ang="0">
                <a:pos x="connsiteX1" y="connsiteY1"/>
              </a:cxn>
            </a:cxnLst>
            <a:rect l="l" t="t" r="r" b="b"/>
            <a:pathLst>
              <a:path w="7615" h="3459893">
                <a:moveTo>
                  <a:pt x="0" y="0"/>
                </a:moveTo>
                <a:lnTo>
                  <a:pt x="0" y="3459894"/>
                </a:lnTo>
              </a:path>
            </a:pathLst>
          </a:custGeom>
          <a:ln w="7614" cap="flat">
            <a:solidFill>
              <a:srgbClr val="EA5A0B"/>
            </a:solidFill>
            <a:prstDash val="solid"/>
            <a:miter/>
          </a:ln>
        </p:spPr>
        <p:txBody>
          <a:bodyPr rtlCol="0" anchor="ctr"/>
          <a:lstStyle/>
          <a:p>
            <a:endParaRPr lang="nl-NL" sz="5000"/>
          </a:p>
        </p:txBody>
      </p:sp>
      <p:sp>
        <p:nvSpPr>
          <p:cNvPr id="76" name="Graphic 2">
            <a:extLst>
              <a:ext uri="{FF2B5EF4-FFF2-40B4-BE49-F238E27FC236}">
                <a16:creationId xmlns:a16="http://schemas.microsoft.com/office/drawing/2014/main" id="{D6DBFCE5-37CC-456B-BAB7-451C25631D82}"/>
              </a:ext>
            </a:extLst>
          </p:cNvPr>
          <p:cNvSpPr txBox="1"/>
          <p:nvPr/>
        </p:nvSpPr>
        <p:spPr>
          <a:xfrm>
            <a:off x="335608" y="4976853"/>
            <a:ext cx="1667394" cy="1184299"/>
          </a:xfrm>
          <a:prstGeom prst="rect">
            <a:avLst/>
          </a:prstGeom>
          <a:noFill/>
        </p:spPr>
        <p:txBody>
          <a:bodyPr wrap="square" lIns="0" tIns="0" rIns="0" bIns="0" rtlCol="0">
            <a:spAutoFit/>
          </a:bodyPr>
          <a:lstStyle/>
          <a:p>
            <a:pPr>
              <a:lnSpc>
                <a:spcPct val="130000"/>
              </a:lnSpc>
              <a:buClr>
                <a:srgbClr val="EA5A0B"/>
              </a:buClr>
              <a:buSzPct val="120000"/>
            </a:pPr>
            <a:r>
              <a:rPr lang="nl-NL" sz="1200" dirty="0">
                <a:solidFill>
                  <a:srgbClr val="000000"/>
                </a:solidFill>
                <a:latin typeface="VAG Rounded Std Thin" panose="020F0402020204020204" pitchFamily="34" charset="0"/>
                <a:cs typeface="Arial"/>
                <a:sym typeface="Arial"/>
                <a:rtl val="0"/>
              </a:rPr>
              <a:t>Vacaturehouders</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Directie</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Lijnmanagement</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Projectleiders</a:t>
            </a:r>
          </a:p>
          <a:p>
            <a:pPr marL="171450" indent="-171450">
              <a:lnSpc>
                <a:spcPct val="130000"/>
              </a:lnSpc>
              <a:buClr>
                <a:srgbClr val="EA5A0B"/>
              </a:buClr>
              <a:buSzPct val="120000"/>
              <a:buFont typeface="Arial" panose="020B0604020202020204" pitchFamily="34" charset="0"/>
              <a:buChar char="•"/>
            </a:pPr>
            <a:r>
              <a:rPr lang="nl-NL" sz="1200" dirty="0">
                <a:solidFill>
                  <a:srgbClr val="000000"/>
                </a:solidFill>
                <a:latin typeface="VAG Rounded Std Thin" panose="020F0402020204020204" pitchFamily="34" charset="0"/>
                <a:cs typeface="Arial"/>
                <a:sym typeface="Arial"/>
                <a:rtl val="0"/>
              </a:rPr>
              <a:t>Etc.</a:t>
            </a:r>
            <a:endParaRPr lang="nl-NL" sz="1200" dirty="0">
              <a:latin typeface="VAG Rounded Std Thin" panose="020F0402020204020204" pitchFamily="34" charset="0"/>
              <a:cs typeface="Arial"/>
              <a:sym typeface="Arial"/>
              <a:rtl val="0"/>
            </a:endParaRPr>
          </a:p>
        </p:txBody>
      </p:sp>
      <p:grpSp>
        <p:nvGrpSpPr>
          <p:cNvPr id="116" name="Graphic 114">
            <a:extLst>
              <a:ext uri="{FF2B5EF4-FFF2-40B4-BE49-F238E27FC236}">
                <a16:creationId xmlns:a16="http://schemas.microsoft.com/office/drawing/2014/main" id="{8AF38D69-D0AC-4263-83C2-72711DE5DD19}"/>
              </a:ext>
            </a:extLst>
          </p:cNvPr>
          <p:cNvGrpSpPr/>
          <p:nvPr/>
        </p:nvGrpSpPr>
        <p:grpSpPr>
          <a:xfrm>
            <a:off x="579069" y="3417950"/>
            <a:ext cx="1020867" cy="961609"/>
            <a:chOff x="1513925" y="3553520"/>
            <a:chExt cx="1020867" cy="961609"/>
          </a:xfrm>
          <a:solidFill>
            <a:srgbClr val="747373"/>
          </a:solidFill>
        </p:grpSpPr>
        <p:grpSp>
          <p:nvGrpSpPr>
            <p:cNvPr id="117" name="Graphic 114">
              <a:extLst>
                <a:ext uri="{FF2B5EF4-FFF2-40B4-BE49-F238E27FC236}">
                  <a16:creationId xmlns:a16="http://schemas.microsoft.com/office/drawing/2014/main" id="{9D3EBFC8-BBC7-42F8-989A-4F3143561FFE}"/>
                </a:ext>
              </a:extLst>
            </p:cNvPr>
            <p:cNvGrpSpPr/>
            <p:nvPr/>
          </p:nvGrpSpPr>
          <p:grpSpPr>
            <a:xfrm>
              <a:off x="1962996" y="3553520"/>
              <a:ext cx="125994" cy="278102"/>
              <a:chOff x="1962996" y="3553520"/>
              <a:chExt cx="125994" cy="278102"/>
            </a:xfrm>
            <a:solidFill>
              <a:srgbClr val="747373"/>
            </a:solidFill>
          </p:grpSpPr>
          <p:sp>
            <p:nvSpPr>
              <p:cNvPr id="118" name="Graphic 114">
                <a:extLst>
                  <a:ext uri="{FF2B5EF4-FFF2-40B4-BE49-F238E27FC236}">
                    <a16:creationId xmlns:a16="http://schemas.microsoft.com/office/drawing/2014/main" id="{931005E8-2EB5-49BB-B38C-EB68506F9685}"/>
                  </a:ext>
                </a:extLst>
              </p:cNvPr>
              <p:cNvSpPr/>
              <p:nvPr/>
            </p:nvSpPr>
            <p:spPr>
              <a:xfrm>
                <a:off x="1962996" y="3604009"/>
                <a:ext cx="125994" cy="227612"/>
              </a:xfrm>
              <a:custGeom>
                <a:avLst/>
                <a:gdLst>
                  <a:gd name="connsiteX0" fmla="*/ 107277 w 125994"/>
                  <a:gd name="connsiteY0" fmla="*/ 22916 h 227612"/>
                  <a:gd name="connsiteX1" fmla="*/ 75564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4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1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7 w 125994"/>
                  <a:gd name="connsiteY23" fmla="*/ 138607 h 227612"/>
                  <a:gd name="connsiteX24" fmla="*/ 62849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599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4 w 125994"/>
                  <a:gd name="connsiteY44" fmla="*/ 90630 h 227612"/>
                  <a:gd name="connsiteX45" fmla="*/ 124797 w 125994"/>
                  <a:gd name="connsiteY45" fmla="*/ 82868 h 227612"/>
                  <a:gd name="connsiteX46" fmla="*/ 107277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7" y="22916"/>
                    </a:moveTo>
                    <a:cubicBezTo>
                      <a:pt x="102620" y="7688"/>
                      <a:pt x="91754" y="0"/>
                      <a:pt x="75564" y="0"/>
                    </a:cubicBezTo>
                    <a:cubicBezTo>
                      <a:pt x="71425"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3912" y="129736"/>
                      <a:pt x="19308" y="136759"/>
                      <a:pt x="26701" y="136759"/>
                    </a:cubicBezTo>
                    <a:lnTo>
                      <a:pt x="39268" y="136759"/>
                    </a:lnTo>
                    <a:lnTo>
                      <a:pt x="39268" y="144077"/>
                    </a:lnTo>
                    <a:cubicBezTo>
                      <a:pt x="39268" y="164184"/>
                      <a:pt x="39268" y="184292"/>
                      <a:pt x="39268" y="204325"/>
                    </a:cubicBezTo>
                    <a:cubicBezTo>
                      <a:pt x="39268" y="208834"/>
                      <a:pt x="39268" y="213344"/>
                      <a:pt x="39711" y="217853"/>
                    </a:cubicBezTo>
                    <a:cubicBezTo>
                      <a:pt x="40377" y="224284"/>
                      <a:pt x="43777" y="227537"/>
                      <a:pt x="49395" y="227611"/>
                    </a:cubicBezTo>
                    <a:cubicBezTo>
                      <a:pt x="55235"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7" y="138607"/>
                    </a:cubicBezTo>
                    <a:cubicBezTo>
                      <a:pt x="61075" y="137868"/>
                      <a:pt x="62258" y="136759"/>
                      <a:pt x="62849" y="136907"/>
                    </a:cubicBezTo>
                    <a:cubicBezTo>
                      <a:pt x="62849" y="136907"/>
                      <a:pt x="62923" y="136907"/>
                      <a:pt x="62997" y="136907"/>
                    </a:cubicBezTo>
                    <a:cubicBezTo>
                      <a:pt x="62997" y="136907"/>
                      <a:pt x="63071" y="136907"/>
                      <a:pt x="63145" y="136907"/>
                    </a:cubicBezTo>
                    <a:cubicBezTo>
                      <a:pt x="63736"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599" y="227611"/>
                    </a:cubicBezTo>
                    <a:cubicBezTo>
                      <a:pt x="82217"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3"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2" y="52042"/>
                      <a:pt x="101881" y="68749"/>
                      <a:pt x="106908" y="85382"/>
                    </a:cubicBezTo>
                    <a:cubicBezTo>
                      <a:pt x="107869" y="88487"/>
                      <a:pt x="108386" y="92257"/>
                      <a:pt x="110530" y="94327"/>
                    </a:cubicBezTo>
                    <a:cubicBezTo>
                      <a:pt x="112822" y="96544"/>
                      <a:pt x="116961" y="98540"/>
                      <a:pt x="119771" y="97949"/>
                    </a:cubicBezTo>
                    <a:cubicBezTo>
                      <a:pt x="122210" y="97431"/>
                      <a:pt x="124576" y="93513"/>
                      <a:pt x="125684" y="90630"/>
                    </a:cubicBezTo>
                    <a:cubicBezTo>
                      <a:pt x="126498" y="88487"/>
                      <a:pt x="125537" y="85382"/>
                      <a:pt x="124797" y="82868"/>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19" name="Graphic 114">
                <a:extLst>
                  <a:ext uri="{FF2B5EF4-FFF2-40B4-BE49-F238E27FC236}">
                    <a16:creationId xmlns:a16="http://schemas.microsoft.com/office/drawing/2014/main" id="{53BEF1CA-169B-4A75-95CD-7DC9EE390E71}"/>
                  </a:ext>
                </a:extLst>
              </p:cNvPr>
              <p:cNvSpPr/>
              <p:nvPr/>
            </p:nvSpPr>
            <p:spPr>
              <a:xfrm>
                <a:off x="2003964" y="355352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20" name="Graphic 114">
              <a:extLst>
                <a:ext uri="{FF2B5EF4-FFF2-40B4-BE49-F238E27FC236}">
                  <a16:creationId xmlns:a16="http://schemas.microsoft.com/office/drawing/2014/main" id="{E04A0906-A322-4145-BE0D-90187C8C468F}"/>
                </a:ext>
              </a:extLst>
            </p:cNvPr>
            <p:cNvGrpSpPr/>
            <p:nvPr/>
          </p:nvGrpSpPr>
          <p:grpSpPr>
            <a:xfrm>
              <a:off x="1962996" y="3920624"/>
              <a:ext cx="126216" cy="278176"/>
              <a:chOff x="1962996" y="3920624"/>
              <a:chExt cx="126216" cy="278176"/>
            </a:xfrm>
            <a:solidFill>
              <a:srgbClr val="747373"/>
            </a:solidFill>
          </p:grpSpPr>
          <p:sp>
            <p:nvSpPr>
              <p:cNvPr id="121" name="Graphic 114">
                <a:extLst>
                  <a:ext uri="{FF2B5EF4-FFF2-40B4-BE49-F238E27FC236}">
                    <a16:creationId xmlns:a16="http://schemas.microsoft.com/office/drawing/2014/main" id="{EBBFD9CB-29B6-49E5-BB4E-5C10D847E3C9}"/>
                  </a:ext>
                </a:extLst>
              </p:cNvPr>
              <p:cNvSpPr/>
              <p:nvPr/>
            </p:nvSpPr>
            <p:spPr>
              <a:xfrm>
                <a:off x="1962996" y="3971114"/>
                <a:ext cx="126216" cy="227686"/>
              </a:xfrm>
              <a:custGeom>
                <a:avLst/>
                <a:gdLst>
                  <a:gd name="connsiteX0" fmla="*/ 107277 w 126216"/>
                  <a:gd name="connsiteY0" fmla="*/ 22916 h 227686"/>
                  <a:gd name="connsiteX1" fmla="*/ 75564 w 126216"/>
                  <a:gd name="connsiteY1" fmla="*/ 0 h 227686"/>
                  <a:gd name="connsiteX2" fmla="*/ 63145 w 126216"/>
                  <a:gd name="connsiteY2" fmla="*/ 0 h 227686"/>
                  <a:gd name="connsiteX3" fmla="*/ 50726 w 126216"/>
                  <a:gd name="connsiteY3" fmla="*/ 0 h 227686"/>
                  <a:gd name="connsiteX4" fmla="*/ 19013 w 126216"/>
                  <a:gd name="connsiteY4" fmla="*/ 22916 h 227686"/>
                  <a:gd name="connsiteX5" fmla="*/ 1197 w 126216"/>
                  <a:gd name="connsiteY5" fmla="*/ 82868 h 227686"/>
                  <a:gd name="connsiteX6" fmla="*/ 310 w 126216"/>
                  <a:gd name="connsiteY6" fmla="*/ 90630 h 227686"/>
                  <a:gd name="connsiteX7" fmla="*/ 6224 w 126216"/>
                  <a:gd name="connsiteY7" fmla="*/ 97949 h 227686"/>
                  <a:gd name="connsiteX8" fmla="*/ 15464 w 126216"/>
                  <a:gd name="connsiteY8" fmla="*/ 94327 h 227686"/>
                  <a:gd name="connsiteX9" fmla="*/ 19087 w 126216"/>
                  <a:gd name="connsiteY9" fmla="*/ 85382 h 227686"/>
                  <a:gd name="connsiteX10" fmla="*/ 34019 w 126216"/>
                  <a:gd name="connsiteY10" fmla="*/ 35409 h 227686"/>
                  <a:gd name="connsiteX11" fmla="*/ 37494 w 126216"/>
                  <a:gd name="connsiteY11" fmla="*/ 30974 h 227686"/>
                  <a:gd name="connsiteX12" fmla="*/ 40155 w 126216"/>
                  <a:gd name="connsiteY12" fmla="*/ 34744 h 227686"/>
                  <a:gd name="connsiteX13" fmla="*/ 15908 w 126216"/>
                  <a:gd name="connsiteY13" fmla="*/ 122565 h 227686"/>
                  <a:gd name="connsiteX14" fmla="*/ 26922 w 126216"/>
                  <a:gd name="connsiteY14" fmla="*/ 136833 h 227686"/>
                  <a:gd name="connsiteX15" fmla="*/ 39489 w 126216"/>
                  <a:gd name="connsiteY15" fmla="*/ 136833 h 227686"/>
                  <a:gd name="connsiteX16" fmla="*/ 39489 w 126216"/>
                  <a:gd name="connsiteY16" fmla="*/ 144151 h 227686"/>
                  <a:gd name="connsiteX17" fmla="*/ 39489 w 126216"/>
                  <a:gd name="connsiteY17" fmla="*/ 204399 h 227686"/>
                  <a:gd name="connsiteX18" fmla="*/ 39933 w 126216"/>
                  <a:gd name="connsiteY18" fmla="*/ 217927 h 227686"/>
                  <a:gd name="connsiteX19" fmla="*/ 49617 w 126216"/>
                  <a:gd name="connsiteY19" fmla="*/ 227685 h 227686"/>
                  <a:gd name="connsiteX20" fmla="*/ 59892 w 126216"/>
                  <a:gd name="connsiteY20" fmla="*/ 218518 h 227686"/>
                  <a:gd name="connsiteX21" fmla="*/ 60853 w 126216"/>
                  <a:gd name="connsiteY21" fmla="*/ 206912 h 227686"/>
                  <a:gd name="connsiteX22" fmla="*/ 60927 w 126216"/>
                  <a:gd name="connsiteY22" fmla="*/ 143560 h 227686"/>
                  <a:gd name="connsiteX23" fmla="*/ 61149 w 126216"/>
                  <a:gd name="connsiteY23" fmla="*/ 138681 h 227686"/>
                  <a:gd name="connsiteX24" fmla="*/ 63071 w 126216"/>
                  <a:gd name="connsiteY24" fmla="*/ 136980 h 227686"/>
                  <a:gd name="connsiteX25" fmla="*/ 63219 w 126216"/>
                  <a:gd name="connsiteY25" fmla="*/ 136980 h 227686"/>
                  <a:gd name="connsiteX26" fmla="*/ 63367 w 126216"/>
                  <a:gd name="connsiteY26" fmla="*/ 136980 h 227686"/>
                  <a:gd name="connsiteX27" fmla="*/ 65289 w 126216"/>
                  <a:gd name="connsiteY27" fmla="*/ 138681 h 227686"/>
                  <a:gd name="connsiteX28" fmla="*/ 65511 w 126216"/>
                  <a:gd name="connsiteY28" fmla="*/ 143560 h 227686"/>
                  <a:gd name="connsiteX29" fmla="*/ 65585 w 126216"/>
                  <a:gd name="connsiteY29" fmla="*/ 206912 h 227686"/>
                  <a:gd name="connsiteX30" fmla="*/ 66546 w 126216"/>
                  <a:gd name="connsiteY30" fmla="*/ 218518 h 227686"/>
                  <a:gd name="connsiteX31" fmla="*/ 76821 w 126216"/>
                  <a:gd name="connsiteY31" fmla="*/ 227685 h 227686"/>
                  <a:gd name="connsiteX32" fmla="*/ 86505 w 126216"/>
                  <a:gd name="connsiteY32" fmla="*/ 217927 h 227686"/>
                  <a:gd name="connsiteX33" fmla="*/ 86948 w 126216"/>
                  <a:gd name="connsiteY33" fmla="*/ 204399 h 227686"/>
                  <a:gd name="connsiteX34" fmla="*/ 86948 w 126216"/>
                  <a:gd name="connsiteY34" fmla="*/ 144151 h 227686"/>
                  <a:gd name="connsiteX35" fmla="*/ 86948 w 126216"/>
                  <a:gd name="connsiteY35" fmla="*/ 136833 h 227686"/>
                  <a:gd name="connsiteX36" fmla="*/ 99515 w 126216"/>
                  <a:gd name="connsiteY36" fmla="*/ 136833 h 227686"/>
                  <a:gd name="connsiteX37" fmla="*/ 110308 w 126216"/>
                  <a:gd name="connsiteY37" fmla="*/ 122639 h 227686"/>
                  <a:gd name="connsiteX38" fmla="*/ 86061 w 126216"/>
                  <a:gd name="connsiteY38" fmla="*/ 34818 h 227686"/>
                  <a:gd name="connsiteX39" fmla="*/ 88723 w 126216"/>
                  <a:gd name="connsiteY39" fmla="*/ 31048 h 227686"/>
                  <a:gd name="connsiteX40" fmla="*/ 92197 w 126216"/>
                  <a:gd name="connsiteY40" fmla="*/ 35483 h 227686"/>
                  <a:gd name="connsiteX41" fmla="*/ 107130 w 126216"/>
                  <a:gd name="connsiteY41" fmla="*/ 85456 h 227686"/>
                  <a:gd name="connsiteX42" fmla="*/ 110752 w 126216"/>
                  <a:gd name="connsiteY42" fmla="*/ 94401 h 227686"/>
                  <a:gd name="connsiteX43" fmla="*/ 119992 w 126216"/>
                  <a:gd name="connsiteY43" fmla="*/ 98023 h 227686"/>
                  <a:gd name="connsiteX44" fmla="*/ 125906 w 126216"/>
                  <a:gd name="connsiteY44" fmla="*/ 90704 h 227686"/>
                  <a:gd name="connsiteX45" fmla="*/ 125019 w 126216"/>
                  <a:gd name="connsiteY45" fmla="*/ 82942 h 227686"/>
                  <a:gd name="connsiteX46" fmla="*/ 107277 w 126216"/>
                  <a:gd name="connsiteY46" fmla="*/ 22916 h 22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6216" h="227686">
                    <a:moveTo>
                      <a:pt x="107277" y="22916"/>
                    </a:moveTo>
                    <a:cubicBezTo>
                      <a:pt x="102620" y="7688"/>
                      <a:pt x="91754" y="0"/>
                      <a:pt x="75564" y="0"/>
                    </a:cubicBezTo>
                    <a:cubicBezTo>
                      <a:pt x="71425"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4134" y="129810"/>
                      <a:pt x="19530" y="136833"/>
                      <a:pt x="26922" y="136833"/>
                    </a:cubicBezTo>
                    <a:lnTo>
                      <a:pt x="39489" y="136833"/>
                    </a:lnTo>
                    <a:lnTo>
                      <a:pt x="39489" y="144151"/>
                    </a:lnTo>
                    <a:cubicBezTo>
                      <a:pt x="39489" y="164258"/>
                      <a:pt x="39489" y="184366"/>
                      <a:pt x="39489" y="204399"/>
                    </a:cubicBezTo>
                    <a:cubicBezTo>
                      <a:pt x="39489" y="208908"/>
                      <a:pt x="39489" y="213418"/>
                      <a:pt x="39933" y="217927"/>
                    </a:cubicBezTo>
                    <a:cubicBezTo>
                      <a:pt x="40598" y="224358"/>
                      <a:pt x="43999" y="227611"/>
                      <a:pt x="49617" y="227685"/>
                    </a:cubicBezTo>
                    <a:cubicBezTo>
                      <a:pt x="55457" y="227759"/>
                      <a:pt x="58931" y="224876"/>
                      <a:pt x="59892" y="218518"/>
                    </a:cubicBezTo>
                    <a:cubicBezTo>
                      <a:pt x="60484" y="214674"/>
                      <a:pt x="60853" y="210756"/>
                      <a:pt x="60853" y="206912"/>
                    </a:cubicBezTo>
                    <a:cubicBezTo>
                      <a:pt x="60927" y="185770"/>
                      <a:pt x="60853" y="164628"/>
                      <a:pt x="60927" y="143560"/>
                    </a:cubicBezTo>
                    <a:cubicBezTo>
                      <a:pt x="60927" y="141933"/>
                      <a:pt x="60853" y="140233"/>
                      <a:pt x="61149" y="138681"/>
                    </a:cubicBezTo>
                    <a:cubicBezTo>
                      <a:pt x="61297" y="137942"/>
                      <a:pt x="62480" y="136833"/>
                      <a:pt x="63071" y="136980"/>
                    </a:cubicBezTo>
                    <a:cubicBezTo>
                      <a:pt x="63071" y="136980"/>
                      <a:pt x="63145" y="136980"/>
                      <a:pt x="63219" y="136980"/>
                    </a:cubicBezTo>
                    <a:cubicBezTo>
                      <a:pt x="63219" y="136980"/>
                      <a:pt x="63293" y="136980"/>
                      <a:pt x="63367" y="136980"/>
                    </a:cubicBezTo>
                    <a:cubicBezTo>
                      <a:pt x="63958" y="136907"/>
                      <a:pt x="65141" y="138015"/>
                      <a:pt x="65289" y="138681"/>
                    </a:cubicBezTo>
                    <a:cubicBezTo>
                      <a:pt x="65658" y="140233"/>
                      <a:pt x="65511" y="141933"/>
                      <a:pt x="65511" y="143560"/>
                    </a:cubicBezTo>
                    <a:cubicBezTo>
                      <a:pt x="65511" y="164702"/>
                      <a:pt x="65511" y="185844"/>
                      <a:pt x="65585" y="206912"/>
                    </a:cubicBezTo>
                    <a:cubicBezTo>
                      <a:pt x="65585" y="210830"/>
                      <a:pt x="65954" y="214674"/>
                      <a:pt x="66546" y="218518"/>
                    </a:cubicBezTo>
                    <a:cubicBezTo>
                      <a:pt x="67507" y="224876"/>
                      <a:pt x="71055" y="227759"/>
                      <a:pt x="76821" y="227685"/>
                    </a:cubicBezTo>
                    <a:cubicBezTo>
                      <a:pt x="82439" y="227611"/>
                      <a:pt x="85914" y="224358"/>
                      <a:pt x="86505" y="217927"/>
                    </a:cubicBezTo>
                    <a:cubicBezTo>
                      <a:pt x="86948" y="213418"/>
                      <a:pt x="86948" y="208908"/>
                      <a:pt x="86948" y="204399"/>
                    </a:cubicBezTo>
                    <a:cubicBezTo>
                      <a:pt x="86948" y="184292"/>
                      <a:pt x="86948" y="164184"/>
                      <a:pt x="86948" y="144151"/>
                    </a:cubicBezTo>
                    <a:lnTo>
                      <a:pt x="86948" y="136833"/>
                    </a:lnTo>
                    <a:lnTo>
                      <a:pt x="99515" y="136833"/>
                    </a:lnTo>
                    <a:cubicBezTo>
                      <a:pt x="106908" y="136833"/>
                      <a:pt x="112304" y="129810"/>
                      <a:pt x="110308" y="122639"/>
                    </a:cubicBezTo>
                    <a:cubicBezTo>
                      <a:pt x="102177" y="92996"/>
                      <a:pt x="94119" y="64018"/>
                      <a:pt x="86061" y="34818"/>
                    </a:cubicBezTo>
                    <a:cubicBezTo>
                      <a:pt x="85544" y="32970"/>
                      <a:pt x="86875" y="31122"/>
                      <a:pt x="88723" y="31048"/>
                    </a:cubicBezTo>
                    <a:cubicBezTo>
                      <a:pt x="90866" y="30974"/>
                      <a:pt x="91532" y="33266"/>
                      <a:pt x="92197" y="35483"/>
                    </a:cubicBezTo>
                    <a:cubicBezTo>
                      <a:pt x="97224" y="52116"/>
                      <a:pt x="102103" y="68823"/>
                      <a:pt x="107130" y="85456"/>
                    </a:cubicBezTo>
                    <a:cubicBezTo>
                      <a:pt x="108091" y="88561"/>
                      <a:pt x="108608" y="92331"/>
                      <a:pt x="110752" y="94401"/>
                    </a:cubicBezTo>
                    <a:cubicBezTo>
                      <a:pt x="113044" y="96618"/>
                      <a:pt x="117183" y="98614"/>
                      <a:pt x="119992" y="98023"/>
                    </a:cubicBezTo>
                    <a:cubicBezTo>
                      <a:pt x="122432" y="97505"/>
                      <a:pt x="124797" y="93587"/>
                      <a:pt x="125906" y="90704"/>
                    </a:cubicBezTo>
                    <a:cubicBezTo>
                      <a:pt x="126719" y="88561"/>
                      <a:pt x="125758" y="85456"/>
                      <a:pt x="125019" y="82942"/>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22" name="Graphic 114">
                <a:extLst>
                  <a:ext uri="{FF2B5EF4-FFF2-40B4-BE49-F238E27FC236}">
                    <a16:creationId xmlns:a16="http://schemas.microsoft.com/office/drawing/2014/main" id="{E8651A9E-9467-44A0-AA90-111913E4928D}"/>
                  </a:ext>
                </a:extLst>
              </p:cNvPr>
              <p:cNvSpPr/>
              <p:nvPr/>
            </p:nvSpPr>
            <p:spPr>
              <a:xfrm>
                <a:off x="2003964" y="3920624"/>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23" name="Graphic 114">
              <a:extLst>
                <a:ext uri="{FF2B5EF4-FFF2-40B4-BE49-F238E27FC236}">
                  <a16:creationId xmlns:a16="http://schemas.microsoft.com/office/drawing/2014/main" id="{6ADBCA2A-0AC9-47E4-B7A1-8AC25E828855}"/>
                </a:ext>
              </a:extLst>
            </p:cNvPr>
            <p:cNvGrpSpPr/>
            <p:nvPr/>
          </p:nvGrpSpPr>
          <p:grpSpPr>
            <a:xfrm>
              <a:off x="2335054" y="3920624"/>
              <a:ext cx="125994" cy="278102"/>
              <a:chOff x="2335054" y="3920624"/>
              <a:chExt cx="125994" cy="278102"/>
            </a:xfrm>
            <a:solidFill>
              <a:srgbClr val="747373"/>
            </a:solidFill>
          </p:grpSpPr>
          <p:sp>
            <p:nvSpPr>
              <p:cNvPr id="124" name="Graphic 114">
                <a:extLst>
                  <a:ext uri="{FF2B5EF4-FFF2-40B4-BE49-F238E27FC236}">
                    <a16:creationId xmlns:a16="http://schemas.microsoft.com/office/drawing/2014/main" id="{94EE782E-990B-4154-8831-B41C4ABCB711}"/>
                  </a:ext>
                </a:extLst>
              </p:cNvPr>
              <p:cNvSpPr/>
              <p:nvPr/>
            </p:nvSpPr>
            <p:spPr>
              <a:xfrm>
                <a:off x="2335054" y="3971114"/>
                <a:ext cx="125994" cy="227612"/>
              </a:xfrm>
              <a:custGeom>
                <a:avLst/>
                <a:gdLst>
                  <a:gd name="connsiteX0" fmla="*/ 107277 w 125994"/>
                  <a:gd name="connsiteY0" fmla="*/ 22916 h 227612"/>
                  <a:gd name="connsiteX1" fmla="*/ 75564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4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1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7 w 125994"/>
                  <a:gd name="connsiteY23" fmla="*/ 138607 h 227612"/>
                  <a:gd name="connsiteX24" fmla="*/ 62849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599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833 h 227612"/>
                  <a:gd name="connsiteX36" fmla="*/ 99294 w 125994"/>
                  <a:gd name="connsiteY36" fmla="*/ 136833 h 227612"/>
                  <a:gd name="connsiteX37" fmla="*/ 110087 w 125994"/>
                  <a:gd name="connsiteY37" fmla="*/ 122639 h 227612"/>
                  <a:gd name="connsiteX38" fmla="*/ 85840 w 125994"/>
                  <a:gd name="connsiteY38" fmla="*/ 34818 h 227612"/>
                  <a:gd name="connsiteX39" fmla="*/ 88501 w 125994"/>
                  <a:gd name="connsiteY39" fmla="*/ 31048 h 227612"/>
                  <a:gd name="connsiteX40" fmla="*/ 91975 w 125994"/>
                  <a:gd name="connsiteY40" fmla="*/ 35483 h 227612"/>
                  <a:gd name="connsiteX41" fmla="*/ 106908 w 125994"/>
                  <a:gd name="connsiteY41" fmla="*/ 85456 h 227612"/>
                  <a:gd name="connsiteX42" fmla="*/ 110530 w 125994"/>
                  <a:gd name="connsiteY42" fmla="*/ 94401 h 227612"/>
                  <a:gd name="connsiteX43" fmla="*/ 119771 w 125994"/>
                  <a:gd name="connsiteY43" fmla="*/ 98023 h 227612"/>
                  <a:gd name="connsiteX44" fmla="*/ 125684 w 125994"/>
                  <a:gd name="connsiteY44" fmla="*/ 90704 h 227612"/>
                  <a:gd name="connsiteX45" fmla="*/ 124797 w 125994"/>
                  <a:gd name="connsiteY45" fmla="*/ 82942 h 227612"/>
                  <a:gd name="connsiteX46" fmla="*/ 107277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7" y="22916"/>
                    </a:moveTo>
                    <a:cubicBezTo>
                      <a:pt x="102620" y="7688"/>
                      <a:pt x="91753" y="0"/>
                      <a:pt x="75564" y="0"/>
                    </a:cubicBezTo>
                    <a:cubicBezTo>
                      <a:pt x="71424" y="0"/>
                      <a:pt x="67285" y="0"/>
                      <a:pt x="63145" y="0"/>
                    </a:cubicBezTo>
                    <a:cubicBezTo>
                      <a:pt x="59005"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4" y="97505"/>
                      <a:pt x="6224" y="97949"/>
                    </a:cubicBezTo>
                    <a:cubicBezTo>
                      <a:pt x="9033" y="98540"/>
                      <a:pt x="13173" y="96544"/>
                      <a:pt x="15464" y="94327"/>
                    </a:cubicBezTo>
                    <a:cubicBezTo>
                      <a:pt x="17534" y="92257"/>
                      <a:pt x="18126" y="88487"/>
                      <a:pt x="19087" y="85382"/>
                    </a:cubicBezTo>
                    <a:cubicBezTo>
                      <a:pt x="24113" y="68749"/>
                      <a:pt x="28992" y="52042"/>
                      <a:pt x="34019" y="35409"/>
                    </a:cubicBezTo>
                    <a:cubicBezTo>
                      <a:pt x="34684" y="33266"/>
                      <a:pt x="35350" y="30900"/>
                      <a:pt x="37494" y="30974"/>
                    </a:cubicBezTo>
                    <a:cubicBezTo>
                      <a:pt x="39416" y="31048"/>
                      <a:pt x="40672" y="32970"/>
                      <a:pt x="40155" y="34744"/>
                    </a:cubicBezTo>
                    <a:cubicBezTo>
                      <a:pt x="32097" y="63944"/>
                      <a:pt x="24113" y="92996"/>
                      <a:pt x="15908" y="122565"/>
                    </a:cubicBezTo>
                    <a:cubicBezTo>
                      <a:pt x="13912" y="129736"/>
                      <a:pt x="19308" y="136759"/>
                      <a:pt x="26701" y="136759"/>
                    </a:cubicBezTo>
                    <a:lnTo>
                      <a:pt x="39268" y="136759"/>
                    </a:lnTo>
                    <a:lnTo>
                      <a:pt x="39268" y="144077"/>
                    </a:lnTo>
                    <a:cubicBezTo>
                      <a:pt x="39268" y="164184"/>
                      <a:pt x="39268" y="184292"/>
                      <a:pt x="39268" y="204325"/>
                    </a:cubicBezTo>
                    <a:cubicBezTo>
                      <a:pt x="39268" y="208834"/>
                      <a:pt x="39268" y="213344"/>
                      <a:pt x="39711" y="217853"/>
                    </a:cubicBezTo>
                    <a:cubicBezTo>
                      <a:pt x="40377" y="224284"/>
                      <a:pt x="43777" y="227537"/>
                      <a:pt x="49395" y="227611"/>
                    </a:cubicBezTo>
                    <a:cubicBezTo>
                      <a:pt x="55235"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7" y="138607"/>
                    </a:cubicBezTo>
                    <a:cubicBezTo>
                      <a:pt x="61075" y="137868"/>
                      <a:pt x="62258" y="136759"/>
                      <a:pt x="62849" y="136907"/>
                    </a:cubicBezTo>
                    <a:cubicBezTo>
                      <a:pt x="62849" y="136907"/>
                      <a:pt x="62923" y="136907"/>
                      <a:pt x="62997" y="136907"/>
                    </a:cubicBezTo>
                    <a:cubicBezTo>
                      <a:pt x="62997" y="136907"/>
                      <a:pt x="63071" y="136907"/>
                      <a:pt x="63145" y="136907"/>
                    </a:cubicBezTo>
                    <a:cubicBezTo>
                      <a:pt x="63736"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599" y="227611"/>
                    </a:cubicBezTo>
                    <a:cubicBezTo>
                      <a:pt x="82217" y="227537"/>
                      <a:pt x="85692" y="224284"/>
                      <a:pt x="86283" y="217853"/>
                    </a:cubicBezTo>
                    <a:cubicBezTo>
                      <a:pt x="86727" y="213344"/>
                      <a:pt x="86727" y="208834"/>
                      <a:pt x="86727" y="204325"/>
                    </a:cubicBezTo>
                    <a:cubicBezTo>
                      <a:pt x="86727" y="184218"/>
                      <a:pt x="86727" y="164111"/>
                      <a:pt x="86727" y="144077"/>
                    </a:cubicBezTo>
                    <a:lnTo>
                      <a:pt x="86727" y="136833"/>
                    </a:lnTo>
                    <a:lnTo>
                      <a:pt x="99294" y="136833"/>
                    </a:lnTo>
                    <a:cubicBezTo>
                      <a:pt x="106686" y="136833"/>
                      <a:pt x="112082" y="129810"/>
                      <a:pt x="110087" y="122639"/>
                    </a:cubicBezTo>
                    <a:cubicBezTo>
                      <a:pt x="101955" y="92996"/>
                      <a:pt x="93897" y="64018"/>
                      <a:pt x="85840" y="34818"/>
                    </a:cubicBezTo>
                    <a:cubicBezTo>
                      <a:pt x="85322" y="32970"/>
                      <a:pt x="86653" y="31122"/>
                      <a:pt x="88501" y="31048"/>
                    </a:cubicBezTo>
                    <a:cubicBezTo>
                      <a:pt x="90645" y="30974"/>
                      <a:pt x="91310" y="33266"/>
                      <a:pt x="91975" y="35483"/>
                    </a:cubicBezTo>
                    <a:cubicBezTo>
                      <a:pt x="97002" y="52116"/>
                      <a:pt x="101881" y="68823"/>
                      <a:pt x="106908" y="85456"/>
                    </a:cubicBezTo>
                    <a:cubicBezTo>
                      <a:pt x="107869" y="88561"/>
                      <a:pt x="108386" y="92331"/>
                      <a:pt x="110530" y="94401"/>
                    </a:cubicBezTo>
                    <a:cubicBezTo>
                      <a:pt x="112822" y="96618"/>
                      <a:pt x="116961" y="98614"/>
                      <a:pt x="119771" y="98023"/>
                    </a:cubicBezTo>
                    <a:cubicBezTo>
                      <a:pt x="122210" y="97505"/>
                      <a:pt x="124576" y="93587"/>
                      <a:pt x="125684" y="90704"/>
                    </a:cubicBezTo>
                    <a:cubicBezTo>
                      <a:pt x="126498" y="88561"/>
                      <a:pt x="125537" y="85456"/>
                      <a:pt x="124797" y="82942"/>
                    </a:cubicBezTo>
                    <a:cubicBezTo>
                      <a:pt x="119253" y="62909"/>
                      <a:pt x="113413" y="42876"/>
                      <a:pt x="107277" y="22916"/>
                    </a:cubicBezTo>
                    <a:close/>
                  </a:path>
                </a:pathLst>
              </a:custGeom>
              <a:solidFill>
                <a:srgbClr val="747373"/>
              </a:solidFill>
              <a:ln w="7388" cap="flat">
                <a:noFill/>
                <a:prstDash val="solid"/>
                <a:miter/>
              </a:ln>
            </p:spPr>
            <p:txBody>
              <a:bodyPr rtlCol="0" anchor="ctr"/>
              <a:lstStyle/>
              <a:p>
                <a:endParaRPr lang="nl-NL" sz="5000"/>
              </a:p>
            </p:txBody>
          </p:sp>
          <p:sp>
            <p:nvSpPr>
              <p:cNvPr id="125" name="Graphic 114">
                <a:extLst>
                  <a:ext uri="{FF2B5EF4-FFF2-40B4-BE49-F238E27FC236}">
                    <a16:creationId xmlns:a16="http://schemas.microsoft.com/office/drawing/2014/main" id="{6D0104AA-FE8A-4283-823A-93D420DFD829}"/>
                  </a:ext>
                </a:extLst>
              </p:cNvPr>
              <p:cNvSpPr/>
              <p:nvPr/>
            </p:nvSpPr>
            <p:spPr>
              <a:xfrm>
                <a:off x="2376022" y="3920624"/>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sp>
          <p:nvSpPr>
            <p:cNvPr id="126" name="Graphic 114">
              <a:extLst>
                <a:ext uri="{FF2B5EF4-FFF2-40B4-BE49-F238E27FC236}">
                  <a16:creationId xmlns:a16="http://schemas.microsoft.com/office/drawing/2014/main" id="{FBC47B45-D5A2-4DA8-A30F-84E1A389D8DB}"/>
                </a:ext>
              </a:extLst>
            </p:cNvPr>
            <p:cNvSpPr/>
            <p:nvPr/>
          </p:nvSpPr>
          <p:spPr>
            <a:xfrm>
              <a:off x="1540537"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27" name="Graphic 114">
              <a:extLst>
                <a:ext uri="{FF2B5EF4-FFF2-40B4-BE49-F238E27FC236}">
                  <a16:creationId xmlns:a16="http://schemas.microsoft.com/office/drawing/2014/main" id="{41E86BA7-83C5-4F7B-A918-27E36DD2B16B}"/>
                </a:ext>
              </a:extLst>
            </p:cNvPr>
            <p:cNvSpPr/>
            <p:nvPr/>
          </p:nvSpPr>
          <p:spPr>
            <a:xfrm>
              <a:off x="1719063"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28" name="Graphic 114">
              <a:extLst>
                <a:ext uri="{FF2B5EF4-FFF2-40B4-BE49-F238E27FC236}">
                  <a16:creationId xmlns:a16="http://schemas.microsoft.com/office/drawing/2014/main" id="{17965E30-0FD8-48DD-A839-E74281A98FC1}"/>
                </a:ext>
              </a:extLst>
            </p:cNvPr>
            <p:cNvGrpSpPr/>
            <p:nvPr/>
          </p:nvGrpSpPr>
          <p:grpSpPr>
            <a:xfrm>
              <a:off x="1603594" y="4280854"/>
              <a:ext cx="90390" cy="234274"/>
              <a:chOff x="1603594" y="4280854"/>
              <a:chExt cx="90390" cy="234274"/>
            </a:xfrm>
            <a:solidFill>
              <a:srgbClr val="747373"/>
            </a:solidFill>
          </p:grpSpPr>
          <p:sp>
            <p:nvSpPr>
              <p:cNvPr id="129" name="Graphic 114">
                <a:extLst>
                  <a:ext uri="{FF2B5EF4-FFF2-40B4-BE49-F238E27FC236}">
                    <a16:creationId xmlns:a16="http://schemas.microsoft.com/office/drawing/2014/main" id="{F9E241EA-268C-4D53-98A8-05A873B1DA8B}"/>
                  </a:ext>
                </a:extLst>
              </p:cNvPr>
              <p:cNvSpPr/>
              <p:nvPr/>
            </p:nvSpPr>
            <p:spPr>
              <a:xfrm>
                <a:off x="1603594"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7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7"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21"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30" name="Graphic 114">
                <a:extLst>
                  <a:ext uri="{FF2B5EF4-FFF2-40B4-BE49-F238E27FC236}">
                    <a16:creationId xmlns:a16="http://schemas.microsoft.com/office/drawing/2014/main" id="{CE997140-2B2D-4046-8D0F-1A05C16D06D5}"/>
                  </a:ext>
                </a:extLst>
              </p:cNvPr>
              <p:cNvSpPr/>
              <p:nvPr/>
            </p:nvSpPr>
            <p:spPr>
              <a:xfrm>
                <a:off x="163020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grpSp>
          <p:nvGrpSpPr>
            <p:cNvPr id="131" name="Graphic 114">
              <a:extLst>
                <a:ext uri="{FF2B5EF4-FFF2-40B4-BE49-F238E27FC236}">
                  <a16:creationId xmlns:a16="http://schemas.microsoft.com/office/drawing/2014/main" id="{37B8AE10-5827-4D06-97DB-13C32957F6A4}"/>
                </a:ext>
              </a:extLst>
            </p:cNvPr>
            <p:cNvGrpSpPr/>
            <p:nvPr/>
          </p:nvGrpSpPr>
          <p:grpSpPr>
            <a:xfrm>
              <a:off x="1600119" y="3919442"/>
              <a:ext cx="107244" cy="278183"/>
              <a:chOff x="1600119" y="3919442"/>
              <a:chExt cx="107244" cy="278183"/>
            </a:xfrm>
            <a:solidFill>
              <a:srgbClr val="747373"/>
            </a:solidFill>
          </p:grpSpPr>
          <p:sp>
            <p:nvSpPr>
              <p:cNvPr id="132" name="Graphic 114">
                <a:extLst>
                  <a:ext uri="{FF2B5EF4-FFF2-40B4-BE49-F238E27FC236}">
                    <a16:creationId xmlns:a16="http://schemas.microsoft.com/office/drawing/2014/main" id="{252113F9-D6A5-4C07-BD89-6492A8FC92BD}"/>
                  </a:ext>
                </a:extLst>
              </p:cNvPr>
              <p:cNvSpPr/>
              <p:nvPr/>
            </p:nvSpPr>
            <p:spPr>
              <a:xfrm>
                <a:off x="1600119" y="3968896"/>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7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2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8 w 107244"/>
                  <a:gd name="connsiteY16" fmla="*/ 210608 h 228729"/>
                  <a:gd name="connsiteX17" fmla="*/ 51968 w 107244"/>
                  <a:gd name="connsiteY17" fmla="*/ 118056 h 228729"/>
                  <a:gd name="connsiteX18" fmla="*/ 51968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9" y="2957"/>
                      <a:pt x="0" y="14563"/>
                      <a:pt x="0" y="32231"/>
                    </a:cubicBezTo>
                    <a:cubicBezTo>
                      <a:pt x="0" y="54260"/>
                      <a:pt x="0" y="76289"/>
                      <a:pt x="0" y="98245"/>
                    </a:cubicBezTo>
                    <a:cubicBezTo>
                      <a:pt x="0" y="106820"/>
                      <a:pt x="2661" y="110220"/>
                      <a:pt x="8797" y="110516"/>
                    </a:cubicBezTo>
                    <a:cubicBezTo>
                      <a:pt x="16115" y="110885"/>
                      <a:pt x="19812" y="107411"/>
                      <a:pt x="19885" y="99797"/>
                    </a:cubicBezTo>
                    <a:cubicBezTo>
                      <a:pt x="19959" y="81907"/>
                      <a:pt x="19885" y="64018"/>
                      <a:pt x="19959" y="46128"/>
                    </a:cubicBezTo>
                    <a:cubicBezTo>
                      <a:pt x="19959" y="44650"/>
                      <a:pt x="19959" y="43171"/>
                      <a:pt x="19959" y="41619"/>
                    </a:cubicBezTo>
                    <a:cubicBezTo>
                      <a:pt x="19959" y="39697"/>
                      <a:pt x="21660" y="38219"/>
                      <a:pt x="23582" y="38514"/>
                    </a:cubicBezTo>
                    <a:cubicBezTo>
                      <a:pt x="25282" y="38810"/>
                      <a:pt x="25725" y="40510"/>
                      <a:pt x="25725" y="43024"/>
                    </a:cubicBezTo>
                    <a:cubicBezTo>
                      <a:pt x="25578" y="55147"/>
                      <a:pt x="25725" y="67271"/>
                      <a:pt x="25725" y="79468"/>
                    </a:cubicBezTo>
                    <a:cubicBezTo>
                      <a:pt x="25725" y="123526"/>
                      <a:pt x="25725" y="167511"/>
                      <a:pt x="25725" y="211569"/>
                    </a:cubicBezTo>
                    <a:cubicBezTo>
                      <a:pt x="25725" y="213787"/>
                      <a:pt x="25725" y="216153"/>
                      <a:pt x="26243" y="218297"/>
                    </a:cubicBezTo>
                    <a:cubicBezTo>
                      <a:pt x="27721" y="224654"/>
                      <a:pt x="32452" y="228572"/>
                      <a:pt x="38366" y="228720"/>
                    </a:cubicBezTo>
                    <a:cubicBezTo>
                      <a:pt x="44502" y="228942"/>
                      <a:pt x="49603" y="225098"/>
                      <a:pt x="51229" y="218518"/>
                    </a:cubicBezTo>
                    <a:cubicBezTo>
                      <a:pt x="51894" y="215931"/>
                      <a:pt x="51968" y="213196"/>
                      <a:pt x="51968" y="210608"/>
                    </a:cubicBezTo>
                    <a:cubicBezTo>
                      <a:pt x="51968" y="179708"/>
                      <a:pt x="51968" y="148882"/>
                      <a:pt x="51968" y="118056"/>
                    </a:cubicBezTo>
                    <a:lnTo>
                      <a:pt x="51968" y="112512"/>
                    </a:lnTo>
                    <a:cubicBezTo>
                      <a:pt x="51968"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30" y="38145"/>
                      <a:pt x="87230" y="39697"/>
                      <a:pt x="87230" y="41619"/>
                    </a:cubicBezTo>
                    <a:cubicBezTo>
                      <a:pt x="87230" y="43171"/>
                      <a:pt x="87230" y="44650"/>
                      <a:pt x="87230" y="46128"/>
                    </a:cubicBezTo>
                    <a:cubicBezTo>
                      <a:pt x="87230" y="64018"/>
                      <a:pt x="87156" y="81907"/>
                      <a:pt x="87304" y="99797"/>
                    </a:cubicBezTo>
                    <a:cubicBezTo>
                      <a:pt x="87304"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33" name="Graphic 114">
                <a:extLst>
                  <a:ext uri="{FF2B5EF4-FFF2-40B4-BE49-F238E27FC236}">
                    <a16:creationId xmlns:a16="http://schemas.microsoft.com/office/drawing/2014/main" id="{C3492C43-C2EA-43A6-8552-013BD70D0F6F}"/>
                  </a:ext>
                </a:extLst>
              </p:cNvPr>
              <p:cNvSpPr/>
              <p:nvPr/>
            </p:nvSpPr>
            <p:spPr>
              <a:xfrm>
                <a:off x="1631759" y="3919442"/>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6" y="44058"/>
                      <a:pt x="22029" y="44058"/>
                    </a:cubicBezTo>
                    <a:cubicBezTo>
                      <a:pt x="9863" y="44058"/>
                      <a:pt x="0" y="34196"/>
                      <a:pt x="0" y="22029"/>
                    </a:cubicBezTo>
                    <a:cubicBezTo>
                      <a:pt x="0" y="9863"/>
                      <a:pt x="9863" y="0"/>
                      <a:pt x="22029" y="0"/>
                    </a:cubicBezTo>
                    <a:cubicBezTo>
                      <a:pt x="34196"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sp>
          <p:nvSpPr>
            <p:cNvPr id="134" name="Graphic 114">
              <a:extLst>
                <a:ext uri="{FF2B5EF4-FFF2-40B4-BE49-F238E27FC236}">
                  <a16:creationId xmlns:a16="http://schemas.microsoft.com/office/drawing/2014/main" id="{37CEB056-828D-4B81-A0A7-CB3D4A04DCE7}"/>
                </a:ext>
              </a:extLst>
            </p:cNvPr>
            <p:cNvSpPr/>
            <p:nvPr/>
          </p:nvSpPr>
          <p:spPr>
            <a:xfrm>
              <a:off x="1697107" y="4322473"/>
              <a:ext cx="85880" cy="192507"/>
            </a:xfrm>
            <a:custGeom>
              <a:avLst/>
              <a:gdLst>
                <a:gd name="connsiteX0" fmla="*/ 63131 w 85880"/>
                <a:gd name="connsiteY0" fmla="*/ 1183 h 192507"/>
                <a:gd name="connsiteX1" fmla="*/ 40510 w 85880"/>
                <a:gd name="connsiteY1" fmla="*/ 0 h 192507"/>
                <a:gd name="connsiteX2" fmla="*/ 17890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5" y="517"/>
                    <a:pt x="48050" y="74"/>
                    <a:pt x="40510" y="0"/>
                  </a:cubicBezTo>
                  <a:cubicBezTo>
                    <a:pt x="32970" y="74"/>
                    <a:pt x="25356" y="444"/>
                    <a:pt x="17890"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9"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8" y="192349"/>
                    <a:pt x="62539" y="189023"/>
                    <a:pt x="63796" y="183700"/>
                  </a:cubicBezTo>
                  <a:cubicBezTo>
                    <a:pt x="64240" y="181852"/>
                    <a:pt x="64240" y="179930"/>
                    <a:pt x="64240" y="178008"/>
                  </a:cubicBezTo>
                  <a:cubicBezTo>
                    <a:pt x="64240" y="140972"/>
                    <a:pt x="64240" y="103937"/>
                    <a:pt x="64240" y="66827"/>
                  </a:cubicBezTo>
                  <a:cubicBezTo>
                    <a:pt x="64240" y="56626"/>
                    <a:pt x="64314"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7" y="12271"/>
                    <a:pt x="78063"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35" name="Graphic 114">
              <a:extLst>
                <a:ext uri="{FF2B5EF4-FFF2-40B4-BE49-F238E27FC236}">
                  <a16:creationId xmlns:a16="http://schemas.microsoft.com/office/drawing/2014/main" id="{CF3618D6-F393-41A3-97B5-1906A507F93E}"/>
                </a:ext>
              </a:extLst>
            </p:cNvPr>
            <p:cNvSpPr/>
            <p:nvPr/>
          </p:nvSpPr>
          <p:spPr>
            <a:xfrm>
              <a:off x="1513925"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7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7"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86"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36" name="Graphic 114">
              <a:extLst>
                <a:ext uri="{FF2B5EF4-FFF2-40B4-BE49-F238E27FC236}">
                  <a16:creationId xmlns:a16="http://schemas.microsoft.com/office/drawing/2014/main" id="{8E860BEC-ED62-46BE-B711-54C8895774EF}"/>
                </a:ext>
              </a:extLst>
            </p:cNvPr>
            <p:cNvSpPr/>
            <p:nvPr/>
          </p:nvSpPr>
          <p:spPr>
            <a:xfrm>
              <a:off x="1920431"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37" name="Graphic 114">
              <a:extLst>
                <a:ext uri="{FF2B5EF4-FFF2-40B4-BE49-F238E27FC236}">
                  <a16:creationId xmlns:a16="http://schemas.microsoft.com/office/drawing/2014/main" id="{A0FF59B3-9684-4893-AE89-8F2A1B4E1761}"/>
                </a:ext>
              </a:extLst>
            </p:cNvPr>
            <p:cNvSpPr/>
            <p:nvPr/>
          </p:nvSpPr>
          <p:spPr>
            <a:xfrm>
              <a:off x="2098882"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38" name="Graphic 114">
              <a:extLst>
                <a:ext uri="{FF2B5EF4-FFF2-40B4-BE49-F238E27FC236}">
                  <a16:creationId xmlns:a16="http://schemas.microsoft.com/office/drawing/2014/main" id="{DFEA016A-A701-4E4F-AAA8-16B213D47537}"/>
                </a:ext>
              </a:extLst>
            </p:cNvPr>
            <p:cNvGrpSpPr/>
            <p:nvPr/>
          </p:nvGrpSpPr>
          <p:grpSpPr>
            <a:xfrm>
              <a:off x="1983414" y="4280854"/>
              <a:ext cx="90390" cy="234274"/>
              <a:chOff x="1983414" y="4280854"/>
              <a:chExt cx="90390" cy="234274"/>
            </a:xfrm>
            <a:solidFill>
              <a:srgbClr val="747373"/>
            </a:solidFill>
          </p:grpSpPr>
          <p:sp>
            <p:nvSpPr>
              <p:cNvPr id="139" name="Graphic 114">
                <a:extLst>
                  <a:ext uri="{FF2B5EF4-FFF2-40B4-BE49-F238E27FC236}">
                    <a16:creationId xmlns:a16="http://schemas.microsoft.com/office/drawing/2014/main" id="{83835E74-C52C-4238-83E0-506BA3152AD1}"/>
                  </a:ext>
                </a:extLst>
              </p:cNvPr>
              <p:cNvSpPr/>
              <p:nvPr/>
            </p:nvSpPr>
            <p:spPr>
              <a:xfrm>
                <a:off x="1983414"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7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7"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94"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40" name="Graphic 114">
                <a:extLst>
                  <a:ext uri="{FF2B5EF4-FFF2-40B4-BE49-F238E27FC236}">
                    <a16:creationId xmlns:a16="http://schemas.microsoft.com/office/drawing/2014/main" id="{E23F08DA-CE3B-4170-8F2A-67571080C947}"/>
                  </a:ext>
                </a:extLst>
              </p:cNvPr>
              <p:cNvSpPr/>
              <p:nvPr/>
            </p:nvSpPr>
            <p:spPr>
              <a:xfrm>
                <a:off x="201002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sp>
          <p:nvSpPr>
            <p:cNvPr id="141" name="Graphic 114">
              <a:extLst>
                <a:ext uri="{FF2B5EF4-FFF2-40B4-BE49-F238E27FC236}">
                  <a16:creationId xmlns:a16="http://schemas.microsoft.com/office/drawing/2014/main" id="{21D0787B-2E34-40C7-9D05-0F82447BE8BE}"/>
                </a:ext>
              </a:extLst>
            </p:cNvPr>
            <p:cNvSpPr/>
            <p:nvPr/>
          </p:nvSpPr>
          <p:spPr>
            <a:xfrm>
              <a:off x="2076927" y="4322473"/>
              <a:ext cx="85880" cy="192507"/>
            </a:xfrm>
            <a:custGeom>
              <a:avLst/>
              <a:gdLst>
                <a:gd name="connsiteX0" fmla="*/ 63131 w 85880"/>
                <a:gd name="connsiteY0" fmla="*/ 1183 h 192507"/>
                <a:gd name="connsiteX1" fmla="*/ 40510 w 85880"/>
                <a:gd name="connsiteY1" fmla="*/ 0 h 192507"/>
                <a:gd name="connsiteX2" fmla="*/ 17890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4" y="517"/>
                    <a:pt x="48050" y="74"/>
                    <a:pt x="40510" y="0"/>
                  </a:cubicBezTo>
                  <a:cubicBezTo>
                    <a:pt x="32970" y="74"/>
                    <a:pt x="25356" y="444"/>
                    <a:pt x="17890"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8"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8" y="192349"/>
                    <a:pt x="62539" y="189023"/>
                    <a:pt x="63796" y="183700"/>
                  </a:cubicBezTo>
                  <a:cubicBezTo>
                    <a:pt x="64240" y="181852"/>
                    <a:pt x="64240" y="179930"/>
                    <a:pt x="64240" y="178008"/>
                  </a:cubicBezTo>
                  <a:cubicBezTo>
                    <a:pt x="64240" y="140972"/>
                    <a:pt x="64240" y="103937"/>
                    <a:pt x="64240" y="66827"/>
                  </a:cubicBezTo>
                  <a:cubicBezTo>
                    <a:pt x="64240" y="56626"/>
                    <a:pt x="64314"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7" y="12271"/>
                    <a:pt x="78137"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42" name="Graphic 114">
              <a:extLst>
                <a:ext uri="{FF2B5EF4-FFF2-40B4-BE49-F238E27FC236}">
                  <a16:creationId xmlns:a16="http://schemas.microsoft.com/office/drawing/2014/main" id="{1A843939-8396-4B6A-A0E1-C711DE615639}"/>
                </a:ext>
              </a:extLst>
            </p:cNvPr>
            <p:cNvSpPr/>
            <p:nvPr/>
          </p:nvSpPr>
          <p:spPr>
            <a:xfrm>
              <a:off x="1893818"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8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8"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12"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43" name="Graphic 114">
              <a:extLst>
                <a:ext uri="{FF2B5EF4-FFF2-40B4-BE49-F238E27FC236}">
                  <a16:creationId xmlns:a16="http://schemas.microsoft.com/office/drawing/2014/main" id="{36AA20FA-8CED-40DC-A7D1-FBA4D9BC3014}"/>
                </a:ext>
              </a:extLst>
            </p:cNvPr>
            <p:cNvSpPr/>
            <p:nvPr/>
          </p:nvSpPr>
          <p:spPr>
            <a:xfrm>
              <a:off x="2292341"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sp>
          <p:nvSpPr>
            <p:cNvPr id="144" name="Graphic 114">
              <a:extLst>
                <a:ext uri="{FF2B5EF4-FFF2-40B4-BE49-F238E27FC236}">
                  <a16:creationId xmlns:a16="http://schemas.microsoft.com/office/drawing/2014/main" id="{FE4008D1-21A6-4852-A210-74AEE9B90EA7}"/>
                </a:ext>
              </a:extLst>
            </p:cNvPr>
            <p:cNvSpPr/>
            <p:nvPr/>
          </p:nvSpPr>
          <p:spPr>
            <a:xfrm>
              <a:off x="2470866"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nvGrpSpPr>
            <p:cNvPr id="145" name="Graphic 114">
              <a:extLst>
                <a:ext uri="{FF2B5EF4-FFF2-40B4-BE49-F238E27FC236}">
                  <a16:creationId xmlns:a16="http://schemas.microsoft.com/office/drawing/2014/main" id="{D857342F-712A-4A56-91DD-02C32DC839D8}"/>
                </a:ext>
              </a:extLst>
            </p:cNvPr>
            <p:cNvGrpSpPr/>
            <p:nvPr/>
          </p:nvGrpSpPr>
          <p:grpSpPr>
            <a:xfrm>
              <a:off x="2355397" y="4280854"/>
              <a:ext cx="90390" cy="234274"/>
              <a:chOff x="2355397" y="4280854"/>
              <a:chExt cx="90390" cy="234274"/>
            </a:xfrm>
            <a:solidFill>
              <a:srgbClr val="747373"/>
            </a:solidFill>
          </p:grpSpPr>
          <p:sp>
            <p:nvSpPr>
              <p:cNvPr id="146" name="Graphic 114">
                <a:extLst>
                  <a:ext uri="{FF2B5EF4-FFF2-40B4-BE49-F238E27FC236}">
                    <a16:creationId xmlns:a16="http://schemas.microsoft.com/office/drawing/2014/main" id="{20AFF139-1FAC-4E77-A0D1-2851749EFB8A}"/>
                  </a:ext>
                </a:extLst>
              </p:cNvPr>
              <p:cNvSpPr/>
              <p:nvPr/>
            </p:nvSpPr>
            <p:spPr>
              <a:xfrm>
                <a:off x="2355397" y="4322473"/>
                <a:ext cx="90390" cy="192655"/>
              </a:xfrm>
              <a:custGeom>
                <a:avLst/>
                <a:gdLst>
                  <a:gd name="connsiteX0" fmla="*/ 67788 w 90390"/>
                  <a:gd name="connsiteY0" fmla="*/ 1183 h 192655"/>
                  <a:gd name="connsiteX1" fmla="*/ 45167 w 90390"/>
                  <a:gd name="connsiteY1" fmla="*/ 0 h 192655"/>
                  <a:gd name="connsiteX2" fmla="*/ 22547 w 90390"/>
                  <a:gd name="connsiteY2" fmla="*/ 1183 h 192655"/>
                  <a:gd name="connsiteX3" fmla="*/ 0 w 90390"/>
                  <a:gd name="connsiteY3" fmla="*/ 27204 h 192655"/>
                  <a:gd name="connsiteX4" fmla="*/ 0 w 90390"/>
                  <a:gd name="connsiteY4" fmla="*/ 82795 h 192655"/>
                  <a:gd name="connsiteX5" fmla="*/ 7392 w 90390"/>
                  <a:gd name="connsiteY5" fmla="*/ 93144 h 192655"/>
                  <a:gd name="connsiteX6" fmla="*/ 16707 w 90390"/>
                  <a:gd name="connsiteY6" fmla="*/ 84125 h 192655"/>
                  <a:gd name="connsiteX7" fmla="*/ 16781 w 90390"/>
                  <a:gd name="connsiteY7" fmla="*/ 38958 h 192655"/>
                  <a:gd name="connsiteX8" fmla="*/ 16781 w 90390"/>
                  <a:gd name="connsiteY8" fmla="*/ 35188 h 192655"/>
                  <a:gd name="connsiteX9" fmla="*/ 19812 w 90390"/>
                  <a:gd name="connsiteY9" fmla="*/ 32600 h 192655"/>
                  <a:gd name="connsiteX10" fmla="*/ 21586 w 90390"/>
                  <a:gd name="connsiteY10" fmla="*/ 36370 h 192655"/>
                  <a:gd name="connsiteX11" fmla="*/ 21586 w 90390"/>
                  <a:gd name="connsiteY11" fmla="*/ 66975 h 192655"/>
                  <a:gd name="connsiteX12" fmla="*/ 21586 w 90390"/>
                  <a:gd name="connsiteY12" fmla="*/ 178156 h 192655"/>
                  <a:gd name="connsiteX13" fmla="*/ 22029 w 90390"/>
                  <a:gd name="connsiteY13" fmla="*/ 183848 h 192655"/>
                  <a:gd name="connsiteX14" fmla="*/ 32231 w 90390"/>
                  <a:gd name="connsiteY14" fmla="*/ 192645 h 192655"/>
                  <a:gd name="connsiteX15" fmla="*/ 43098 w 90390"/>
                  <a:gd name="connsiteY15" fmla="*/ 184070 h 192655"/>
                  <a:gd name="connsiteX16" fmla="*/ 43763 w 90390"/>
                  <a:gd name="connsiteY16" fmla="*/ 177417 h 192655"/>
                  <a:gd name="connsiteX17" fmla="*/ 43763 w 90390"/>
                  <a:gd name="connsiteY17" fmla="*/ 99501 h 192655"/>
                  <a:gd name="connsiteX18" fmla="*/ 43763 w 90390"/>
                  <a:gd name="connsiteY18" fmla="*/ 94844 h 192655"/>
                  <a:gd name="connsiteX19" fmla="*/ 45167 w 90390"/>
                  <a:gd name="connsiteY19" fmla="*/ 92922 h 192655"/>
                  <a:gd name="connsiteX20" fmla="*/ 45167 w 90390"/>
                  <a:gd name="connsiteY20" fmla="*/ 92922 h 192655"/>
                  <a:gd name="connsiteX21" fmla="*/ 45167 w 90390"/>
                  <a:gd name="connsiteY21" fmla="*/ 92922 h 192655"/>
                  <a:gd name="connsiteX22" fmla="*/ 46572 w 90390"/>
                  <a:gd name="connsiteY22" fmla="*/ 94844 h 192655"/>
                  <a:gd name="connsiteX23" fmla="*/ 46572 w 90390"/>
                  <a:gd name="connsiteY23" fmla="*/ 99501 h 192655"/>
                  <a:gd name="connsiteX24" fmla="*/ 46572 w 90390"/>
                  <a:gd name="connsiteY24" fmla="*/ 177417 h 192655"/>
                  <a:gd name="connsiteX25" fmla="*/ 47237 w 90390"/>
                  <a:gd name="connsiteY25" fmla="*/ 184070 h 192655"/>
                  <a:gd name="connsiteX26" fmla="*/ 58104 w 90390"/>
                  <a:gd name="connsiteY26" fmla="*/ 192645 h 192655"/>
                  <a:gd name="connsiteX27" fmla="*/ 68305 w 90390"/>
                  <a:gd name="connsiteY27" fmla="*/ 183848 h 192655"/>
                  <a:gd name="connsiteX28" fmla="*/ 68749 w 90390"/>
                  <a:gd name="connsiteY28" fmla="*/ 178156 h 192655"/>
                  <a:gd name="connsiteX29" fmla="*/ 68749 w 90390"/>
                  <a:gd name="connsiteY29" fmla="*/ 66975 h 192655"/>
                  <a:gd name="connsiteX30" fmla="*/ 68749 w 90390"/>
                  <a:gd name="connsiteY30" fmla="*/ 36370 h 192655"/>
                  <a:gd name="connsiteX31" fmla="*/ 70523 w 90390"/>
                  <a:gd name="connsiteY31" fmla="*/ 32600 h 192655"/>
                  <a:gd name="connsiteX32" fmla="*/ 73554 w 90390"/>
                  <a:gd name="connsiteY32" fmla="*/ 35188 h 192655"/>
                  <a:gd name="connsiteX33" fmla="*/ 73554 w 90390"/>
                  <a:gd name="connsiteY33" fmla="*/ 38958 h 192655"/>
                  <a:gd name="connsiteX34" fmla="*/ 73628 w 90390"/>
                  <a:gd name="connsiteY34" fmla="*/ 84125 h 192655"/>
                  <a:gd name="connsiteX35" fmla="*/ 82942 w 90390"/>
                  <a:gd name="connsiteY35" fmla="*/ 93144 h 192655"/>
                  <a:gd name="connsiteX36" fmla="*/ 90335 w 90390"/>
                  <a:gd name="connsiteY36" fmla="*/ 82795 h 192655"/>
                  <a:gd name="connsiteX37" fmla="*/ 90335 w 90390"/>
                  <a:gd name="connsiteY37" fmla="*/ 27204 h 192655"/>
                  <a:gd name="connsiteX38" fmla="*/ 67788 w 90390"/>
                  <a:gd name="connsiteY38" fmla="*/ 1183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390" h="192655">
                    <a:moveTo>
                      <a:pt x="67788" y="1183"/>
                    </a:moveTo>
                    <a:cubicBezTo>
                      <a:pt x="60322" y="517"/>
                      <a:pt x="52708" y="74"/>
                      <a:pt x="45167" y="0"/>
                    </a:cubicBezTo>
                    <a:cubicBezTo>
                      <a:pt x="37627" y="74"/>
                      <a:pt x="30013" y="444"/>
                      <a:pt x="22547" y="1183"/>
                    </a:cubicBezTo>
                    <a:cubicBezTo>
                      <a:pt x="7614" y="2513"/>
                      <a:pt x="0" y="12271"/>
                      <a:pt x="0" y="27204"/>
                    </a:cubicBezTo>
                    <a:cubicBezTo>
                      <a:pt x="0" y="45759"/>
                      <a:pt x="0" y="64240"/>
                      <a:pt x="0" y="82795"/>
                    </a:cubicBezTo>
                    <a:cubicBezTo>
                      <a:pt x="0" y="89965"/>
                      <a:pt x="2218" y="92848"/>
                      <a:pt x="7392" y="93144"/>
                    </a:cubicBezTo>
                    <a:cubicBezTo>
                      <a:pt x="13528" y="93440"/>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78"/>
                      <a:pt x="21586" y="182000"/>
                      <a:pt x="22029" y="183848"/>
                    </a:cubicBezTo>
                    <a:cubicBezTo>
                      <a:pt x="23286" y="189171"/>
                      <a:pt x="27278" y="192497"/>
                      <a:pt x="32231" y="192645"/>
                    </a:cubicBezTo>
                    <a:cubicBezTo>
                      <a:pt x="37405" y="192793"/>
                      <a:pt x="41693" y="189614"/>
                      <a:pt x="43098" y="184070"/>
                    </a:cubicBezTo>
                    <a:cubicBezTo>
                      <a:pt x="43689" y="181926"/>
                      <a:pt x="43763" y="179635"/>
                      <a:pt x="43763" y="177417"/>
                    </a:cubicBezTo>
                    <a:cubicBezTo>
                      <a:pt x="43763" y="151470"/>
                      <a:pt x="43763" y="125448"/>
                      <a:pt x="43763" y="99501"/>
                    </a:cubicBezTo>
                    <a:lnTo>
                      <a:pt x="43763" y="94844"/>
                    </a:lnTo>
                    <a:cubicBezTo>
                      <a:pt x="43763" y="93957"/>
                      <a:pt x="44354" y="93218"/>
                      <a:pt x="45167" y="92922"/>
                    </a:cubicBezTo>
                    <a:lnTo>
                      <a:pt x="45167" y="92922"/>
                    </a:lnTo>
                    <a:lnTo>
                      <a:pt x="45167" y="92922"/>
                    </a:lnTo>
                    <a:cubicBezTo>
                      <a:pt x="45981" y="93218"/>
                      <a:pt x="46572" y="93957"/>
                      <a:pt x="46572" y="94844"/>
                    </a:cubicBezTo>
                    <a:lnTo>
                      <a:pt x="46572" y="99501"/>
                    </a:lnTo>
                    <a:cubicBezTo>
                      <a:pt x="46572" y="125448"/>
                      <a:pt x="46572" y="151470"/>
                      <a:pt x="46572" y="177417"/>
                    </a:cubicBezTo>
                    <a:cubicBezTo>
                      <a:pt x="46572" y="179635"/>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5"/>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40"/>
                      <a:pt x="82942" y="93144"/>
                    </a:cubicBezTo>
                    <a:cubicBezTo>
                      <a:pt x="88117" y="92848"/>
                      <a:pt x="90335" y="89965"/>
                      <a:pt x="90335" y="82795"/>
                    </a:cubicBezTo>
                    <a:cubicBezTo>
                      <a:pt x="90409" y="64240"/>
                      <a:pt x="90409" y="45759"/>
                      <a:pt x="90335" y="27204"/>
                    </a:cubicBezTo>
                    <a:cubicBezTo>
                      <a:pt x="90335" y="12271"/>
                      <a:pt x="82721" y="2513"/>
                      <a:pt x="67788" y="1183"/>
                    </a:cubicBezTo>
                    <a:close/>
                  </a:path>
                </a:pathLst>
              </a:custGeom>
              <a:solidFill>
                <a:srgbClr val="747373"/>
              </a:solidFill>
              <a:ln w="7388" cap="flat">
                <a:noFill/>
                <a:prstDash val="solid"/>
                <a:miter/>
              </a:ln>
            </p:spPr>
            <p:txBody>
              <a:bodyPr rtlCol="0" anchor="ctr"/>
              <a:lstStyle/>
              <a:p>
                <a:endParaRPr lang="nl-NL" sz="5000"/>
              </a:p>
            </p:txBody>
          </p:sp>
          <p:sp>
            <p:nvSpPr>
              <p:cNvPr id="147" name="Graphic 114">
                <a:extLst>
                  <a:ext uri="{FF2B5EF4-FFF2-40B4-BE49-F238E27FC236}">
                    <a16:creationId xmlns:a16="http://schemas.microsoft.com/office/drawing/2014/main" id="{3CEAF48E-5EBE-4368-BC56-8895124ADD2F}"/>
                  </a:ext>
                </a:extLst>
              </p:cNvPr>
              <p:cNvSpPr/>
              <p:nvPr/>
            </p:nvSpPr>
            <p:spPr>
              <a:xfrm>
                <a:off x="2382010" y="4280854"/>
                <a:ext cx="37109" cy="37109"/>
              </a:xfrm>
              <a:custGeom>
                <a:avLst/>
                <a:gdLst>
                  <a:gd name="connsiteX0" fmla="*/ 37110 w 37109"/>
                  <a:gd name="connsiteY0" fmla="*/ 18555 h 37109"/>
                  <a:gd name="connsiteX1" fmla="*/ 18555 w 37109"/>
                  <a:gd name="connsiteY1" fmla="*/ 37110 h 37109"/>
                  <a:gd name="connsiteX2" fmla="*/ 0 w 37109"/>
                  <a:gd name="connsiteY2" fmla="*/ 18555 h 37109"/>
                  <a:gd name="connsiteX3" fmla="*/ 18555 w 37109"/>
                  <a:gd name="connsiteY3" fmla="*/ 0 h 37109"/>
                  <a:gd name="connsiteX4" fmla="*/ 37110 w 37109"/>
                  <a:gd name="connsiteY4" fmla="*/ 18555 h 3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9" h="37109">
                    <a:moveTo>
                      <a:pt x="37110" y="18555"/>
                    </a:moveTo>
                    <a:cubicBezTo>
                      <a:pt x="37110" y="28802"/>
                      <a:pt x="28802" y="37110"/>
                      <a:pt x="18555" y="37110"/>
                    </a:cubicBezTo>
                    <a:cubicBezTo>
                      <a:pt x="8307" y="37110"/>
                      <a:pt x="0" y="28802"/>
                      <a:pt x="0" y="18555"/>
                    </a:cubicBezTo>
                    <a:cubicBezTo>
                      <a:pt x="0" y="8307"/>
                      <a:pt x="8307" y="0"/>
                      <a:pt x="18555" y="0"/>
                    </a:cubicBezTo>
                    <a:cubicBezTo>
                      <a:pt x="28802" y="0"/>
                      <a:pt x="37110" y="8307"/>
                      <a:pt x="37110" y="18555"/>
                    </a:cubicBezTo>
                    <a:close/>
                  </a:path>
                </a:pathLst>
              </a:custGeom>
              <a:solidFill>
                <a:srgbClr val="747373"/>
              </a:solidFill>
              <a:ln w="7388" cap="flat">
                <a:noFill/>
                <a:prstDash val="solid"/>
                <a:miter/>
              </a:ln>
            </p:spPr>
            <p:txBody>
              <a:bodyPr rtlCol="0" anchor="ctr"/>
              <a:lstStyle/>
              <a:p>
                <a:endParaRPr lang="nl-NL" sz="5000"/>
              </a:p>
            </p:txBody>
          </p:sp>
        </p:grpSp>
        <p:sp>
          <p:nvSpPr>
            <p:cNvPr id="148" name="Graphic 114">
              <a:extLst>
                <a:ext uri="{FF2B5EF4-FFF2-40B4-BE49-F238E27FC236}">
                  <a16:creationId xmlns:a16="http://schemas.microsoft.com/office/drawing/2014/main" id="{4161D80A-927A-4268-8576-F2B3907445CB}"/>
                </a:ext>
              </a:extLst>
            </p:cNvPr>
            <p:cNvSpPr/>
            <p:nvPr/>
          </p:nvSpPr>
          <p:spPr>
            <a:xfrm>
              <a:off x="2448911" y="4322473"/>
              <a:ext cx="85880" cy="192507"/>
            </a:xfrm>
            <a:custGeom>
              <a:avLst/>
              <a:gdLst>
                <a:gd name="connsiteX0" fmla="*/ 63131 w 85880"/>
                <a:gd name="connsiteY0" fmla="*/ 1183 h 192507"/>
                <a:gd name="connsiteX1" fmla="*/ 40510 w 85880"/>
                <a:gd name="connsiteY1" fmla="*/ 0 h 192507"/>
                <a:gd name="connsiteX2" fmla="*/ 17889 w 85880"/>
                <a:gd name="connsiteY2" fmla="*/ 1183 h 192507"/>
                <a:gd name="connsiteX3" fmla="*/ 0 w 85880"/>
                <a:gd name="connsiteY3" fmla="*/ 10571 h 192507"/>
                <a:gd name="connsiteX4" fmla="*/ 3548 w 85880"/>
                <a:gd name="connsiteY4" fmla="*/ 27130 h 192507"/>
                <a:gd name="connsiteX5" fmla="*/ 3548 w 85880"/>
                <a:gd name="connsiteY5" fmla="*/ 82721 h 192507"/>
                <a:gd name="connsiteX6" fmla="*/ 1478 w 85880"/>
                <a:gd name="connsiteY6" fmla="*/ 92700 h 192507"/>
                <a:gd name="connsiteX7" fmla="*/ 2883 w 85880"/>
                <a:gd name="connsiteY7" fmla="*/ 92996 h 192507"/>
                <a:gd name="connsiteX8" fmla="*/ 12197 w 85880"/>
                <a:gd name="connsiteY8" fmla="*/ 83977 h 192507"/>
                <a:gd name="connsiteX9" fmla="*/ 12271 w 85880"/>
                <a:gd name="connsiteY9" fmla="*/ 38810 h 192507"/>
                <a:gd name="connsiteX10" fmla="*/ 12271 w 85880"/>
                <a:gd name="connsiteY10" fmla="*/ 35040 h 192507"/>
                <a:gd name="connsiteX11" fmla="*/ 15302 w 85880"/>
                <a:gd name="connsiteY11" fmla="*/ 32453 h 192507"/>
                <a:gd name="connsiteX12" fmla="*/ 17076 w 85880"/>
                <a:gd name="connsiteY12" fmla="*/ 36223 h 192507"/>
                <a:gd name="connsiteX13" fmla="*/ 17076 w 85880"/>
                <a:gd name="connsiteY13" fmla="*/ 66827 h 192507"/>
                <a:gd name="connsiteX14" fmla="*/ 17076 w 85880"/>
                <a:gd name="connsiteY14" fmla="*/ 178008 h 192507"/>
                <a:gd name="connsiteX15" fmla="*/ 17520 w 85880"/>
                <a:gd name="connsiteY15" fmla="*/ 183700 h 192507"/>
                <a:gd name="connsiteX16" fmla="*/ 27721 w 85880"/>
                <a:gd name="connsiteY16" fmla="*/ 192497 h 192507"/>
                <a:gd name="connsiteX17" fmla="*/ 38588 w 85880"/>
                <a:gd name="connsiteY17" fmla="*/ 183922 h 192507"/>
                <a:gd name="connsiteX18" fmla="*/ 39253 w 85880"/>
                <a:gd name="connsiteY18" fmla="*/ 177269 h 192507"/>
                <a:gd name="connsiteX19" fmla="*/ 39253 w 85880"/>
                <a:gd name="connsiteY19" fmla="*/ 99353 h 192507"/>
                <a:gd name="connsiteX20" fmla="*/ 39253 w 85880"/>
                <a:gd name="connsiteY20" fmla="*/ 94696 h 192507"/>
                <a:gd name="connsiteX21" fmla="*/ 40658 w 85880"/>
                <a:gd name="connsiteY21" fmla="*/ 92774 h 192507"/>
                <a:gd name="connsiteX22" fmla="*/ 42063 w 85880"/>
                <a:gd name="connsiteY22" fmla="*/ 94696 h 192507"/>
                <a:gd name="connsiteX23" fmla="*/ 42063 w 85880"/>
                <a:gd name="connsiteY23" fmla="*/ 99353 h 192507"/>
                <a:gd name="connsiteX24" fmla="*/ 42063 w 85880"/>
                <a:gd name="connsiteY24" fmla="*/ 177269 h 192507"/>
                <a:gd name="connsiteX25" fmla="*/ 42728 w 85880"/>
                <a:gd name="connsiteY25" fmla="*/ 183922 h 192507"/>
                <a:gd name="connsiteX26" fmla="*/ 53595 w 85880"/>
                <a:gd name="connsiteY26" fmla="*/ 192497 h 192507"/>
                <a:gd name="connsiteX27" fmla="*/ 63796 w 85880"/>
                <a:gd name="connsiteY27" fmla="*/ 183700 h 192507"/>
                <a:gd name="connsiteX28" fmla="*/ 64240 w 85880"/>
                <a:gd name="connsiteY28" fmla="*/ 178008 h 192507"/>
                <a:gd name="connsiteX29" fmla="*/ 64240 w 85880"/>
                <a:gd name="connsiteY29" fmla="*/ 66827 h 192507"/>
                <a:gd name="connsiteX30" fmla="*/ 64240 w 85880"/>
                <a:gd name="connsiteY30" fmla="*/ 36223 h 192507"/>
                <a:gd name="connsiteX31" fmla="*/ 66014 w 85880"/>
                <a:gd name="connsiteY31" fmla="*/ 32453 h 192507"/>
                <a:gd name="connsiteX32" fmla="*/ 69045 w 85880"/>
                <a:gd name="connsiteY32" fmla="*/ 35040 h 192507"/>
                <a:gd name="connsiteX33" fmla="*/ 69045 w 85880"/>
                <a:gd name="connsiteY33" fmla="*/ 38810 h 192507"/>
                <a:gd name="connsiteX34" fmla="*/ 69119 w 85880"/>
                <a:gd name="connsiteY34" fmla="*/ 83977 h 192507"/>
                <a:gd name="connsiteX35" fmla="*/ 78433 w 85880"/>
                <a:gd name="connsiteY35" fmla="*/ 92996 h 192507"/>
                <a:gd name="connsiteX36" fmla="*/ 85825 w 85880"/>
                <a:gd name="connsiteY36" fmla="*/ 82647 h 192507"/>
                <a:gd name="connsiteX37" fmla="*/ 85825 w 85880"/>
                <a:gd name="connsiteY37" fmla="*/ 27056 h 192507"/>
                <a:gd name="connsiteX38" fmla="*/ 63131 w 85880"/>
                <a:gd name="connsiteY38" fmla="*/ 1183 h 19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880" h="192507">
                  <a:moveTo>
                    <a:pt x="63131" y="1183"/>
                  </a:moveTo>
                  <a:cubicBezTo>
                    <a:pt x="55664" y="517"/>
                    <a:pt x="48050" y="74"/>
                    <a:pt x="40510" y="0"/>
                  </a:cubicBezTo>
                  <a:cubicBezTo>
                    <a:pt x="32970" y="74"/>
                    <a:pt x="25356" y="444"/>
                    <a:pt x="17889" y="1183"/>
                  </a:cubicBezTo>
                  <a:cubicBezTo>
                    <a:pt x="9684" y="1922"/>
                    <a:pt x="3770" y="5323"/>
                    <a:pt x="0" y="10571"/>
                  </a:cubicBezTo>
                  <a:cubicBezTo>
                    <a:pt x="2218" y="15302"/>
                    <a:pt x="3548" y="20846"/>
                    <a:pt x="3548" y="27130"/>
                  </a:cubicBezTo>
                  <a:cubicBezTo>
                    <a:pt x="3548" y="45611"/>
                    <a:pt x="3622" y="64166"/>
                    <a:pt x="3548" y="82721"/>
                  </a:cubicBezTo>
                  <a:cubicBezTo>
                    <a:pt x="3548" y="87082"/>
                    <a:pt x="2661" y="90261"/>
                    <a:pt x="1478" y="92700"/>
                  </a:cubicBezTo>
                  <a:cubicBezTo>
                    <a:pt x="1922" y="92774"/>
                    <a:pt x="2292" y="92996"/>
                    <a:pt x="2883" y="92996"/>
                  </a:cubicBezTo>
                  <a:cubicBezTo>
                    <a:pt x="9019" y="93292"/>
                    <a:pt x="12197" y="90409"/>
                    <a:pt x="12197" y="83977"/>
                  </a:cubicBezTo>
                  <a:cubicBezTo>
                    <a:pt x="12271" y="68897"/>
                    <a:pt x="12197" y="53890"/>
                    <a:pt x="12271" y="38810"/>
                  </a:cubicBezTo>
                  <a:cubicBezTo>
                    <a:pt x="12271" y="37553"/>
                    <a:pt x="12271" y="36370"/>
                    <a:pt x="12271" y="35040"/>
                  </a:cubicBezTo>
                  <a:cubicBezTo>
                    <a:pt x="12271" y="33414"/>
                    <a:pt x="13750" y="32157"/>
                    <a:pt x="15302" y="32453"/>
                  </a:cubicBezTo>
                  <a:cubicBezTo>
                    <a:pt x="16781" y="32748"/>
                    <a:pt x="17150" y="34079"/>
                    <a:pt x="17076" y="36223"/>
                  </a:cubicBezTo>
                  <a:cubicBezTo>
                    <a:pt x="16929" y="46424"/>
                    <a:pt x="17076" y="56626"/>
                    <a:pt x="17076" y="66827"/>
                  </a:cubicBezTo>
                  <a:cubicBezTo>
                    <a:pt x="17076" y="103863"/>
                    <a:pt x="17076" y="140899"/>
                    <a:pt x="17076" y="178008"/>
                  </a:cubicBezTo>
                  <a:cubicBezTo>
                    <a:pt x="17076" y="179856"/>
                    <a:pt x="17076" y="181852"/>
                    <a:pt x="17520" y="183700"/>
                  </a:cubicBezTo>
                  <a:cubicBezTo>
                    <a:pt x="18777" y="189023"/>
                    <a:pt x="22768" y="192349"/>
                    <a:pt x="27721" y="192497"/>
                  </a:cubicBezTo>
                  <a:cubicBezTo>
                    <a:pt x="32896" y="192645"/>
                    <a:pt x="37184" y="189466"/>
                    <a:pt x="38588" y="183922"/>
                  </a:cubicBezTo>
                  <a:cubicBezTo>
                    <a:pt x="39180" y="181778"/>
                    <a:pt x="39253" y="179487"/>
                    <a:pt x="39253" y="177269"/>
                  </a:cubicBezTo>
                  <a:cubicBezTo>
                    <a:pt x="39253" y="151248"/>
                    <a:pt x="39253" y="125301"/>
                    <a:pt x="39253" y="99353"/>
                  </a:cubicBezTo>
                  <a:lnTo>
                    <a:pt x="39253" y="94696"/>
                  </a:lnTo>
                  <a:cubicBezTo>
                    <a:pt x="39253" y="93809"/>
                    <a:pt x="39845" y="93070"/>
                    <a:pt x="40658" y="92774"/>
                  </a:cubicBezTo>
                  <a:cubicBezTo>
                    <a:pt x="41471" y="93070"/>
                    <a:pt x="42063" y="93809"/>
                    <a:pt x="42063" y="94696"/>
                  </a:cubicBezTo>
                  <a:lnTo>
                    <a:pt x="42063" y="99353"/>
                  </a:lnTo>
                  <a:cubicBezTo>
                    <a:pt x="42063" y="125301"/>
                    <a:pt x="42063" y="151322"/>
                    <a:pt x="42063" y="177269"/>
                  </a:cubicBezTo>
                  <a:cubicBezTo>
                    <a:pt x="42063" y="179487"/>
                    <a:pt x="42136" y="181778"/>
                    <a:pt x="42728" y="183922"/>
                  </a:cubicBezTo>
                  <a:cubicBezTo>
                    <a:pt x="44206" y="189466"/>
                    <a:pt x="48420" y="192719"/>
                    <a:pt x="53595" y="192497"/>
                  </a:cubicBezTo>
                  <a:cubicBezTo>
                    <a:pt x="58547" y="192349"/>
                    <a:pt x="62539" y="189023"/>
                    <a:pt x="63796" y="183700"/>
                  </a:cubicBezTo>
                  <a:cubicBezTo>
                    <a:pt x="64240" y="181852"/>
                    <a:pt x="64240" y="179930"/>
                    <a:pt x="64240" y="178008"/>
                  </a:cubicBezTo>
                  <a:cubicBezTo>
                    <a:pt x="64240" y="140972"/>
                    <a:pt x="64240" y="103937"/>
                    <a:pt x="64240" y="66827"/>
                  </a:cubicBezTo>
                  <a:cubicBezTo>
                    <a:pt x="64240" y="56626"/>
                    <a:pt x="64313" y="46424"/>
                    <a:pt x="64240" y="36223"/>
                  </a:cubicBezTo>
                  <a:cubicBezTo>
                    <a:pt x="64240" y="34079"/>
                    <a:pt x="64609" y="32748"/>
                    <a:pt x="66014" y="32453"/>
                  </a:cubicBezTo>
                  <a:cubicBezTo>
                    <a:pt x="67640" y="32157"/>
                    <a:pt x="69045" y="33414"/>
                    <a:pt x="69045" y="35040"/>
                  </a:cubicBezTo>
                  <a:cubicBezTo>
                    <a:pt x="69045" y="36370"/>
                    <a:pt x="69045" y="37553"/>
                    <a:pt x="69045" y="38810"/>
                  </a:cubicBezTo>
                  <a:cubicBezTo>
                    <a:pt x="69045" y="53890"/>
                    <a:pt x="68971" y="68971"/>
                    <a:pt x="69119" y="83977"/>
                  </a:cubicBezTo>
                  <a:cubicBezTo>
                    <a:pt x="69119" y="90409"/>
                    <a:pt x="72297" y="93292"/>
                    <a:pt x="78433" y="92996"/>
                  </a:cubicBezTo>
                  <a:cubicBezTo>
                    <a:pt x="83608" y="92700"/>
                    <a:pt x="85825" y="89817"/>
                    <a:pt x="85825" y="82647"/>
                  </a:cubicBezTo>
                  <a:cubicBezTo>
                    <a:pt x="85899" y="64092"/>
                    <a:pt x="85899" y="45611"/>
                    <a:pt x="85825" y="27056"/>
                  </a:cubicBezTo>
                  <a:cubicBezTo>
                    <a:pt x="85678" y="12271"/>
                    <a:pt x="78063" y="2513"/>
                    <a:pt x="63131" y="1183"/>
                  </a:cubicBezTo>
                  <a:close/>
                </a:path>
              </a:pathLst>
            </a:custGeom>
            <a:solidFill>
              <a:srgbClr val="747373"/>
            </a:solidFill>
            <a:ln w="7388" cap="flat">
              <a:noFill/>
              <a:prstDash val="solid"/>
              <a:miter/>
            </a:ln>
          </p:spPr>
          <p:txBody>
            <a:bodyPr rtlCol="0" anchor="ctr"/>
            <a:lstStyle/>
            <a:p>
              <a:endParaRPr lang="nl-NL" sz="5000"/>
            </a:p>
          </p:txBody>
        </p:sp>
        <p:sp>
          <p:nvSpPr>
            <p:cNvPr id="149" name="Graphic 114">
              <a:extLst>
                <a:ext uri="{FF2B5EF4-FFF2-40B4-BE49-F238E27FC236}">
                  <a16:creationId xmlns:a16="http://schemas.microsoft.com/office/drawing/2014/main" id="{E8C315D9-0F75-45C2-B478-99FB45F29077}"/>
                </a:ext>
              </a:extLst>
            </p:cNvPr>
            <p:cNvSpPr/>
            <p:nvPr/>
          </p:nvSpPr>
          <p:spPr>
            <a:xfrm>
              <a:off x="2265728" y="4322399"/>
              <a:ext cx="85381" cy="192655"/>
            </a:xfrm>
            <a:custGeom>
              <a:avLst/>
              <a:gdLst>
                <a:gd name="connsiteX0" fmla="*/ 81612 w 85381"/>
                <a:gd name="connsiteY0" fmla="*/ 82794 h 192655"/>
                <a:gd name="connsiteX1" fmla="*/ 81612 w 85381"/>
                <a:gd name="connsiteY1" fmla="*/ 27204 h 192655"/>
                <a:gd name="connsiteX2" fmla="*/ 85382 w 85381"/>
                <a:gd name="connsiteY2" fmla="*/ 10128 h 192655"/>
                <a:gd name="connsiteX3" fmla="*/ 67788 w 85381"/>
                <a:gd name="connsiteY3" fmla="*/ 1183 h 192655"/>
                <a:gd name="connsiteX4" fmla="*/ 45167 w 85381"/>
                <a:gd name="connsiteY4" fmla="*/ 0 h 192655"/>
                <a:gd name="connsiteX5" fmla="*/ 22547 w 85381"/>
                <a:gd name="connsiteY5" fmla="*/ 1183 h 192655"/>
                <a:gd name="connsiteX6" fmla="*/ 0 w 85381"/>
                <a:gd name="connsiteY6" fmla="*/ 27204 h 192655"/>
                <a:gd name="connsiteX7" fmla="*/ 0 w 85381"/>
                <a:gd name="connsiteY7" fmla="*/ 82794 h 192655"/>
                <a:gd name="connsiteX8" fmla="*/ 7392 w 85381"/>
                <a:gd name="connsiteY8" fmla="*/ 93144 h 192655"/>
                <a:gd name="connsiteX9" fmla="*/ 16707 w 85381"/>
                <a:gd name="connsiteY9" fmla="*/ 84125 h 192655"/>
                <a:gd name="connsiteX10" fmla="*/ 16781 w 85381"/>
                <a:gd name="connsiteY10" fmla="*/ 38958 h 192655"/>
                <a:gd name="connsiteX11" fmla="*/ 16781 w 85381"/>
                <a:gd name="connsiteY11" fmla="*/ 35188 h 192655"/>
                <a:gd name="connsiteX12" fmla="*/ 19812 w 85381"/>
                <a:gd name="connsiteY12" fmla="*/ 32600 h 192655"/>
                <a:gd name="connsiteX13" fmla="*/ 21586 w 85381"/>
                <a:gd name="connsiteY13" fmla="*/ 36370 h 192655"/>
                <a:gd name="connsiteX14" fmla="*/ 21586 w 85381"/>
                <a:gd name="connsiteY14" fmla="*/ 66975 h 192655"/>
                <a:gd name="connsiteX15" fmla="*/ 21586 w 85381"/>
                <a:gd name="connsiteY15" fmla="*/ 178156 h 192655"/>
                <a:gd name="connsiteX16" fmla="*/ 22029 w 85381"/>
                <a:gd name="connsiteY16" fmla="*/ 183848 h 192655"/>
                <a:gd name="connsiteX17" fmla="*/ 32231 w 85381"/>
                <a:gd name="connsiteY17" fmla="*/ 192645 h 192655"/>
                <a:gd name="connsiteX18" fmla="*/ 43098 w 85381"/>
                <a:gd name="connsiteY18" fmla="*/ 184070 h 192655"/>
                <a:gd name="connsiteX19" fmla="*/ 43763 w 85381"/>
                <a:gd name="connsiteY19" fmla="*/ 177417 h 192655"/>
                <a:gd name="connsiteX20" fmla="*/ 43763 w 85381"/>
                <a:gd name="connsiteY20" fmla="*/ 99501 h 192655"/>
                <a:gd name="connsiteX21" fmla="*/ 43763 w 85381"/>
                <a:gd name="connsiteY21" fmla="*/ 94844 h 192655"/>
                <a:gd name="connsiteX22" fmla="*/ 45167 w 85381"/>
                <a:gd name="connsiteY22" fmla="*/ 92922 h 192655"/>
                <a:gd name="connsiteX23" fmla="*/ 46572 w 85381"/>
                <a:gd name="connsiteY23" fmla="*/ 94844 h 192655"/>
                <a:gd name="connsiteX24" fmla="*/ 46572 w 85381"/>
                <a:gd name="connsiteY24" fmla="*/ 99501 h 192655"/>
                <a:gd name="connsiteX25" fmla="*/ 46572 w 85381"/>
                <a:gd name="connsiteY25" fmla="*/ 177417 h 192655"/>
                <a:gd name="connsiteX26" fmla="*/ 47237 w 85381"/>
                <a:gd name="connsiteY26" fmla="*/ 184070 h 192655"/>
                <a:gd name="connsiteX27" fmla="*/ 58104 w 85381"/>
                <a:gd name="connsiteY27" fmla="*/ 192645 h 192655"/>
                <a:gd name="connsiteX28" fmla="*/ 68305 w 85381"/>
                <a:gd name="connsiteY28" fmla="*/ 183848 h 192655"/>
                <a:gd name="connsiteX29" fmla="*/ 68749 w 85381"/>
                <a:gd name="connsiteY29" fmla="*/ 178156 h 192655"/>
                <a:gd name="connsiteX30" fmla="*/ 68749 w 85381"/>
                <a:gd name="connsiteY30" fmla="*/ 66975 h 192655"/>
                <a:gd name="connsiteX31" fmla="*/ 68749 w 85381"/>
                <a:gd name="connsiteY31" fmla="*/ 36370 h 192655"/>
                <a:gd name="connsiteX32" fmla="*/ 70523 w 85381"/>
                <a:gd name="connsiteY32" fmla="*/ 32600 h 192655"/>
                <a:gd name="connsiteX33" fmla="*/ 73554 w 85381"/>
                <a:gd name="connsiteY33" fmla="*/ 35188 h 192655"/>
                <a:gd name="connsiteX34" fmla="*/ 73554 w 85381"/>
                <a:gd name="connsiteY34" fmla="*/ 38958 h 192655"/>
                <a:gd name="connsiteX35" fmla="*/ 73628 w 85381"/>
                <a:gd name="connsiteY35" fmla="*/ 84125 h 192655"/>
                <a:gd name="connsiteX36" fmla="*/ 82942 w 85381"/>
                <a:gd name="connsiteY36" fmla="*/ 93144 h 192655"/>
                <a:gd name="connsiteX37" fmla="*/ 83829 w 85381"/>
                <a:gd name="connsiteY37" fmla="*/ 92922 h 192655"/>
                <a:gd name="connsiteX38" fmla="*/ 81612 w 85381"/>
                <a:gd name="connsiteY38" fmla="*/ 82794 h 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381" h="192655">
                  <a:moveTo>
                    <a:pt x="81612" y="82794"/>
                  </a:moveTo>
                  <a:cubicBezTo>
                    <a:pt x="81538" y="64314"/>
                    <a:pt x="81538" y="45759"/>
                    <a:pt x="81612" y="27204"/>
                  </a:cubicBezTo>
                  <a:cubicBezTo>
                    <a:pt x="81612" y="20625"/>
                    <a:pt x="82942" y="14933"/>
                    <a:pt x="85382" y="10128"/>
                  </a:cubicBezTo>
                  <a:cubicBezTo>
                    <a:pt x="81612" y="5101"/>
                    <a:pt x="75846" y="1922"/>
                    <a:pt x="67788" y="1183"/>
                  </a:cubicBezTo>
                  <a:cubicBezTo>
                    <a:pt x="60322" y="517"/>
                    <a:pt x="52708" y="74"/>
                    <a:pt x="45167" y="0"/>
                  </a:cubicBezTo>
                  <a:cubicBezTo>
                    <a:pt x="37627" y="74"/>
                    <a:pt x="30013" y="444"/>
                    <a:pt x="22547" y="1183"/>
                  </a:cubicBezTo>
                  <a:cubicBezTo>
                    <a:pt x="7614" y="2513"/>
                    <a:pt x="0" y="12271"/>
                    <a:pt x="0" y="27204"/>
                  </a:cubicBezTo>
                  <a:cubicBezTo>
                    <a:pt x="0" y="45759"/>
                    <a:pt x="0" y="64240"/>
                    <a:pt x="0" y="82794"/>
                  </a:cubicBezTo>
                  <a:cubicBezTo>
                    <a:pt x="0" y="89965"/>
                    <a:pt x="2218" y="92848"/>
                    <a:pt x="7392" y="93144"/>
                  </a:cubicBezTo>
                  <a:cubicBezTo>
                    <a:pt x="13528" y="93439"/>
                    <a:pt x="16707" y="90556"/>
                    <a:pt x="16707" y="84125"/>
                  </a:cubicBezTo>
                  <a:cubicBezTo>
                    <a:pt x="16781" y="69045"/>
                    <a:pt x="16707" y="54038"/>
                    <a:pt x="16781" y="38958"/>
                  </a:cubicBezTo>
                  <a:cubicBezTo>
                    <a:pt x="16781" y="37701"/>
                    <a:pt x="16781" y="36518"/>
                    <a:pt x="16781" y="35188"/>
                  </a:cubicBezTo>
                  <a:cubicBezTo>
                    <a:pt x="16781" y="33561"/>
                    <a:pt x="18259" y="32305"/>
                    <a:pt x="19812" y="32600"/>
                  </a:cubicBezTo>
                  <a:cubicBezTo>
                    <a:pt x="21290" y="32896"/>
                    <a:pt x="21660" y="34227"/>
                    <a:pt x="21586" y="36370"/>
                  </a:cubicBezTo>
                  <a:cubicBezTo>
                    <a:pt x="21438" y="46572"/>
                    <a:pt x="21586" y="56773"/>
                    <a:pt x="21586" y="66975"/>
                  </a:cubicBezTo>
                  <a:cubicBezTo>
                    <a:pt x="21586" y="104011"/>
                    <a:pt x="21586" y="141046"/>
                    <a:pt x="21586" y="178156"/>
                  </a:cubicBezTo>
                  <a:cubicBezTo>
                    <a:pt x="21586" y="180004"/>
                    <a:pt x="21586" y="182000"/>
                    <a:pt x="22029" y="183848"/>
                  </a:cubicBezTo>
                  <a:cubicBezTo>
                    <a:pt x="23286" y="189171"/>
                    <a:pt x="27278" y="192497"/>
                    <a:pt x="32231" y="192645"/>
                  </a:cubicBezTo>
                  <a:cubicBezTo>
                    <a:pt x="37405" y="192793"/>
                    <a:pt x="41693" y="189614"/>
                    <a:pt x="43098" y="184070"/>
                  </a:cubicBezTo>
                  <a:cubicBezTo>
                    <a:pt x="43689" y="181926"/>
                    <a:pt x="43763" y="179634"/>
                    <a:pt x="43763" y="177417"/>
                  </a:cubicBezTo>
                  <a:cubicBezTo>
                    <a:pt x="43763" y="151396"/>
                    <a:pt x="43763" y="125448"/>
                    <a:pt x="43763" y="99501"/>
                  </a:cubicBezTo>
                  <a:lnTo>
                    <a:pt x="43763" y="94844"/>
                  </a:lnTo>
                  <a:cubicBezTo>
                    <a:pt x="43763" y="93957"/>
                    <a:pt x="44354" y="93218"/>
                    <a:pt x="45167" y="92922"/>
                  </a:cubicBezTo>
                  <a:cubicBezTo>
                    <a:pt x="45981" y="93218"/>
                    <a:pt x="46572" y="93957"/>
                    <a:pt x="46572" y="94844"/>
                  </a:cubicBezTo>
                  <a:lnTo>
                    <a:pt x="46572" y="99501"/>
                  </a:lnTo>
                  <a:cubicBezTo>
                    <a:pt x="46572" y="125448"/>
                    <a:pt x="46572" y="151470"/>
                    <a:pt x="46572" y="177417"/>
                  </a:cubicBezTo>
                  <a:cubicBezTo>
                    <a:pt x="46572" y="179634"/>
                    <a:pt x="46646" y="181926"/>
                    <a:pt x="47237" y="184070"/>
                  </a:cubicBezTo>
                  <a:cubicBezTo>
                    <a:pt x="48716" y="189614"/>
                    <a:pt x="52929" y="192867"/>
                    <a:pt x="58104" y="192645"/>
                  </a:cubicBezTo>
                  <a:cubicBezTo>
                    <a:pt x="63057" y="192497"/>
                    <a:pt x="67049" y="189171"/>
                    <a:pt x="68305" y="183848"/>
                  </a:cubicBezTo>
                  <a:cubicBezTo>
                    <a:pt x="68749" y="182000"/>
                    <a:pt x="68749" y="180078"/>
                    <a:pt x="68749" y="178156"/>
                  </a:cubicBezTo>
                  <a:cubicBezTo>
                    <a:pt x="68749" y="141120"/>
                    <a:pt x="68749" y="104084"/>
                    <a:pt x="68749" y="66975"/>
                  </a:cubicBezTo>
                  <a:cubicBezTo>
                    <a:pt x="68749" y="56773"/>
                    <a:pt x="68823" y="46572"/>
                    <a:pt x="68749" y="36370"/>
                  </a:cubicBezTo>
                  <a:cubicBezTo>
                    <a:pt x="68749" y="34227"/>
                    <a:pt x="69119" y="32896"/>
                    <a:pt x="70523" y="32600"/>
                  </a:cubicBezTo>
                  <a:cubicBezTo>
                    <a:pt x="72149" y="32305"/>
                    <a:pt x="73554" y="33561"/>
                    <a:pt x="73554" y="35188"/>
                  </a:cubicBezTo>
                  <a:cubicBezTo>
                    <a:pt x="73554" y="36518"/>
                    <a:pt x="73554" y="37701"/>
                    <a:pt x="73554" y="38958"/>
                  </a:cubicBezTo>
                  <a:cubicBezTo>
                    <a:pt x="73554" y="54038"/>
                    <a:pt x="73480" y="69119"/>
                    <a:pt x="73628" y="84125"/>
                  </a:cubicBezTo>
                  <a:cubicBezTo>
                    <a:pt x="73628" y="90556"/>
                    <a:pt x="76807" y="93439"/>
                    <a:pt x="82942" y="93144"/>
                  </a:cubicBezTo>
                  <a:cubicBezTo>
                    <a:pt x="83312" y="93144"/>
                    <a:pt x="83534" y="92996"/>
                    <a:pt x="83829" y="92922"/>
                  </a:cubicBezTo>
                  <a:cubicBezTo>
                    <a:pt x="82499" y="90409"/>
                    <a:pt x="81612" y="87230"/>
                    <a:pt x="81612" y="82794"/>
                  </a:cubicBezTo>
                  <a:close/>
                </a:path>
              </a:pathLst>
            </a:custGeom>
            <a:solidFill>
              <a:srgbClr val="747373"/>
            </a:solidFill>
            <a:ln w="7388" cap="flat">
              <a:noFill/>
              <a:prstDash val="solid"/>
              <a:miter/>
            </a:ln>
          </p:spPr>
          <p:txBody>
            <a:bodyPr rtlCol="0" anchor="ctr"/>
            <a:lstStyle/>
            <a:p>
              <a:endParaRPr lang="nl-NL" sz="5000"/>
            </a:p>
          </p:txBody>
        </p:sp>
        <p:sp>
          <p:nvSpPr>
            <p:cNvPr id="150" name="Graphic 114">
              <a:extLst>
                <a:ext uri="{FF2B5EF4-FFF2-40B4-BE49-F238E27FC236}">
                  <a16:creationId xmlns:a16="http://schemas.microsoft.com/office/drawing/2014/main" id="{106FCB77-24BB-4F06-A4CD-023770C714C8}"/>
                </a:ext>
              </a:extLst>
            </p:cNvPr>
            <p:cNvSpPr/>
            <p:nvPr/>
          </p:nvSpPr>
          <p:spPr>
            <a:xfrm>
              <a:off x="1650092" y="3867547"/>
              <a:ext cx="754169" cy="36296"/>
            </a:xfrm>
            <a:custGeom>
              <a:avLst/>
              <a:gdLst>
                <a:gd name="connsiteX0" fmla="*/ 754169 w 754169"/>
                <a:gd name="connsiteY0" fmla="*/ 36297 h 36296"/>
                <a:gd name="connsiteX1" fmla="*/ 746777 w 754169"/>
                <a:gd name="connsiteY1" fmla="*/ 36297 h 36296"/>
                <a:gd name="connsiteX2" fmla="*/ 746777 w 754169"/>
                <a:gd name="connsiteY2" fmla="*/ 7392 h 36296"/>
                <a:gd name="connsiteX3" fmla="*/ 7392 w 754169"/>
                <a:gd name="connsiteY3" fmla="*/ 7392 h 36296"/>
                <a:gd name="connsiteX4" fmla="*/ 7392 w 754169"/>
                <a:gd name="connsiteY4" fmla="*/ 36297 h 36296"/>
                <a:gd name="connsiteX5" fmla="*/ 0 w 754169"/>
                <a:gd name="connsiteY5" fmla="*/ 36297 h 36296"/>
                <a:gd name="connsiteX6" fmla="*/ 0 w 754169"/>
                <a:gd name="connsiteY6" fmla="*/ 0 h 36296"/>
                <a:gd name="connsiteX7" fmla="*/ 754169 w 754169"/>
                <a:gd name="connsiteY7"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4169" h="36296">
                  <a:moveTo>
                    <a:pt x="754169" y="36297"/>
                  </a:moveTo>
                  <a:lnTo>
                    <a:pt x="746777" y="36297"/>
                  </a:lnTo>
                  <a:lnTo>
                    <a:pt x="746777" y="7392"/>
                  </a:lnTo>
                  <a:lnTo>
                    <a:pt x="7392" y="7392"/>
                  </a:lnTo>
                  <a:lnTo>
                    <a:pt x="7392" y="36297"/>
                  </a:lnTo>
                  <a:lnTo>
                    <a:pt x="0" y="36297"/>
                  </a:lnTo>
                  <a:lnTo>
                    <a:pt x="0" y="0"/>
                  </a:lnTo>
                  <a:lnTo>
                    <a:pt x="754169" y="0"/>
                  </a:lnTo>
                  <a:close/>
                </a:path>
              </a:pathLst>
            </a:custGeom>
            <a:solidFill>
              <a:srgbClr val="747373"/>
            </a:solidFill>
            <a:ln w="7388" cap="flat">
              <a:noFill/>
              <a:prstDash val="solid"/>
              <a:miter/>
            </a:ln>
          </p:spPr>
          <p:txBody>
            <a:bodyPr rtlCol="0" anchor="ctr"/>
            <a:lstStyle/>
            <a:p>
              <a:endParaRPr lang="nl-NL" sz="5000"/>
            </a:p>
          </p:txBody>
        </p:sp>
        <p:sp>
          <p:nvSpPr>
            <p:cNvPr id="151" name="Graphic 114">
              <a:extLst>
                <a:ext uri="{FF2B5EF4-FFF2-40B4-BE49-F238E27FC236}">
                  <a16:creationId xmlns:a16="http://schemas.microsoft.com/office/drawing/2014/main" id="{347BFD2B-596A-42B4-AFE5-A42CC86AC1BE}"/>
                </a:ext>
              </a:extLst>
            </p:cNvPr>
            <p:cNvSpPr/>
            <p:nvPr/>
          </p:nvSpPr>
          <p:spPr>
            <a:xfrm>
              <a:off x="2024885" y="3831768"/>
              <a:ext cx="7392" cy="72075"/>
            </a:xfrm>
            <a:custGeom>
              <a:avLst/>
              <a:gdLst>
                <a:gd name="connsiteX0" fmla="*/ 0 w 7392"/>
                <a:gd name="connsiteY0" fmla="*/ 0 h 72075"/>
                <a:gd name="connsiteX1" fmla="*/ 7392 w 7392"/>
                <a:gd name="connsiteY1" fmla="*/ 0 h 72075"/>
                <a:gd name="connsiteX2" fmla="*/ 7392 w 7392"/>
                <a:gd name="connsiteY2" fmla="*/ 72076 h 72075"/>
                <a:gd name="connsiteX3" fmla="*/ 0 w 7392"/>
                <a:gd name="connsiteY3" fmla="*/ 72076 h 72075"/>
              </a:gdLst>
              <a:ahLst/>
              <a:cxnLst>
                <a:cxn ang="0">
                  <a:pos x="connsiteX0" y="connsiteY0"/>
                </a:cxn>
                <a:cxn ang="0">
                  <a:pos x="connsiteX1" y="connsiteY1"/>
                </a:cxn>
                <a:cxn ang="0">
                  <a:pos x="connsiteX2" y="connsiteY2"/>
                </a:cxn>
                <a:cxn ang="0">
                  <a:pos x="connsiteX3" y="connsiteY3"/>
                </a:cxn>
              </a:cxnLst>
              <a:rect l="l" t="t" r="r" b="b"/>
              <a:pathLst>
                <a:path w="7392" h="72075">
                  <a:moveTo>
                    <a:pt x="0" y="0"/>
                  </a:moveTo>
                  <a:lnTo>
                    <a:pt x="7392" y="0"/>
                  </a:lnTo>
                  <a:lnTo>
                    <a:pt x="7392" y="72076"/>
                  </a:lnTo>
                  <a:lnTo>
                    <a:pt x="0" y="72076"/>
                  </a:lnTo>
                  <a:close/>
                </a:path>
              </a:pathLst>
            </a:custGeom>
            <a:solidFill>
              <a:srgbClr val="747373"/>
            </a:solidFill>
            <a:ln w="7388" cap="flat">
              <a:noFill/>
              <a:prstDash val="solid"/>
              <a:miter/>
            </a:ln>
          </p:spPr>
          <p:txBody>
            <a:bodyPr rtlCol="0" anchor="ctr"/>
            <a:lstStyle/>
            <a:p>
              <a:endParaRPr lang="nl-NL" sz="5000"/>
            </a:p>
          </p:txBody>
        </p:sp>
        <p:sp>
          <p:nvSpPr>
            <p:cNvPr id="152" name="Graphic 114">
              <a:extLst>
                <a:ext uri="{FF2B5EF4-FFF2-40B4-BE49-F238E27FC236}">
                  <a16:creationId xmlns:a16="http://schemas.microsoft.com/office/drawing/2014/main" id="{1D56F2F9-76EE-4D9C-8788-86A7683C414A}"/>
                </a:ext>
              </a:extLst>
            </p:cNvPr>
            <p:cNvSpPr/>
            <p:nvPr/>
          </p:nvSpPr>
          <p:spPr>
            <a:xfrm>
              <a:off x="2024885"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sp>
          <p:nvSpPr>
            <p:cNvPr id="153" name="Graphic 114">
              <a:extLst>
                <a:ext uri="{FF2B5EF4-FFF2-40B4-BE49-F238E27FC236}">
                  <a16:creationId xmlns:a16="http://schemas.microsoft.com/office/drawing/2014/main" id="{E099DD9E-2D78-4AAC-A8F5-02A399FB95CF}"/>
                </a:ext>
              </a:extLst>
            </p:cNvPr>
            <p:cNvSpPr/>
            <p:nvPr/>
          </p:nvSpPr>
          <p:spPr>
            <a:xfrm>
              <a:off x="1650092"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sp>
          <p:nvSpPr>
            <p:cNvPr id="154" name="Graphic 114">
              <a:extLst>
                <a:ext uri="{FF2B5EF4-FFF2-40B4-BE49-F238E27FC236}">
                  <a16:creationId xmlns:a16="http://schemas.microsoft.com/office/drawing/2014/main" id="{89287C1F-8FBD-4EB9-9609-AB114FEE9EAD}"/>
                </a:ext>
              </a:extLst>
            </p:cNvPr>
            <p:cNvSpPr/>
            <p:nvPr/>
          </p:nvSpPr>
          <p:spPr>
            <a:xfrm>
              <a:off x="2394577" y="4218684"/>
              <a:ext cx="7392" cy="46424"/>
            </a:xfrm>
            <a:custGeom>
              <a:avLst/>
              <a:gdLst>
                <a:gd name="connsiteX0" fmla="*/ 0 w 7392"/>
                <a:gd name="connsiteY0" fmla="*/ 0 h 46424"/>
                <a:gd name="connsiteX1" fmla="*/ 7392 w 7392"/>
                <a:gd name="connsiteY1" fmla="*/ 0 h 46424"/>
                <a:gd name="connsiteX2" fmla="*/ 7392 w 7392"/>
                <a:gd name="connsiteY2" fmla="*/ 46424 h 46424"/>
                <a:gd name="connsiteX3" fmla="*/ 0 w 7392"/>
                <a:gd name="connsiteY3" fmla="*/ 46424 h 46424"/>
              </a:gdLst>
              <a:ahLst/>
              <a:cxnLst>
                <a:cxn ang="0">
                  <a:pos x="connsiteX0" y="connsiteY0"/>
                </a:cxn>
                <a:cxn ang="0">
                  <a:pos x="connsiteX1" y="connsiteY1"/>
                </a:cxn>
                <a:cxn ang="0">
                  <a:pos x="connsiteX2" y="connsiteY2"/>
                </a:cxn>
                <a:cxn ang="0">
                  <a:pos x="connsiteX3" y="connsiteY3"/>
                </a:cxn>
              </a:cxnLst>
              <a:rect l="l" t="t" r="r" b="b"/>
              <a:pathLst>
                <a:path w="7392" h="46424">
                  <a:moveTo>
                    <a:pt x="0" y="0"/>
                  </a:moveTo>
                  <a:lnTo>
                    <a:pt x="7392" y="0"/>
                  </a:lnTo>
                  <a:lnTo>
                    <a:pt x="7392" y="46424"/>
                  </a:lnTo>
                  <a:lnTo>
                    <a:pt x="0" y="46424"/>
                  </a:lnTo>
                  <a:close/>
                </a:path>
              </a:pathLst>
            </a:custGeom>
            <a:solidFill>
              <a:srgbClr val="747373"/>
            </a:solidFill>
            <a:ln w="7388" cap="flat">
              <a:noFill/>
              <a:prstDash val="solid"/>
              <a:miter/>
            </a:ln>
          </p:spPr>
          <p:txBody>
            <a:bodyPr rtlCol="0" anchor="ctr"/>
            <a:lstStyle/>
            <a:p>
              <a:endParaRPr lang="nl-NL" sz="5000"/>
            </a:p>
          </p:txBody>
        </p:sp>
      </p:grpSp>
      <p:grpSp>
        <p:nvGrpSpPr>
          <p:cNvPr id="156" name="Graphic 114">
            <a:extLst>
              <a:ext uri="{FF2B5EF4-FFF2-40B4-BE49-F238E27FC236}">
                <a16:creationId xmlns:a16="http://schemas.microsoft.com/office/drawing/2014/main" id="{DE067329-6A3B-478A-ABAD-43BEFB8E898E}"/>
              </a:ext>
            </a:extLst>
          </p:cNvPr>
          <p:cNvGrpSpPr/>
          <p:nvPr/>
        </p:nvGrpSpPr>
        <p:grpSpPr>
          <a:xfrm>
            <a:off x="9253637" y="5922310"/>
            <a:ext cx="125994" cy="278028"/>
            <a:chOff x="9560869" y="4378507"/>
            <a:chExt cx="125994" cy="278028"/>
          </a:xfrm>
          <a:solidFill>
            <a:srgbClr val="747373"/>
          </a:solidFill>
        </p:grpSpPr>
        <p:sp>
          <p:nvSpPr>
            <p:cNvPr id="157" name="Graphic 114">
              <a:extLst>
                <a:ext uri="{FF2B5EF4-FFF2-40B4-BE49-F238E27FC236}">
                  <a16:creationId xmlns:a16="http://schemas.microsoft.com/office/drawing/2014/main" id="{396A712E-9CA2-4E83-A2E2-6F81B5F9CE2A}"/>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158" name="Graphic 114">
              <a:extLst>
                <a:ext uri="{FF2B5EF4-FFF2-40B4-BE49-F238E27FC236}">
                  <a16:creationId xmlns:a16="http://schemas.microsoft.com/office/drawing/2014/main" id="{D397F3C6-3442-4780-BBC6-975DC17E568E}"/>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59" name="Graphic 114">
            <a:extLst>
              <a:ext uri="{FF2B5EF4-FFF2-40B4-BE49-F238E27FC236}">
                <a16:creationId xmlns:a16="http://schemas.microsoft.com/office/drawing/2014/main" id="{89D1264E-E871-4C25-890A-D3F1738345BC}"/>
              </a:ext>
            </a:extLst>
          </p:cNvPr>
          <p:cNvGrpSpPr/>
          <p:nvPr/>
        </p:nvGrpSpPr>
        <p:grpSpPr>
          <a:xfrm>
            <a:off x="9105656" y="5921054"/>
            <a:ext cx="107244" cy="278257"/>
            <a:chOff x="9412888" y="4377251"/>
            <a:chExt cx="107244" cy="278257"/>
          </a:xfrm>
          <a:solidFill>
            <a:srgbClr val="747373"/>
          </a:solidFill>
        </p:grpSpPr>
        <p:sp>
          <p:nvSpPr>
            <p:cNvPr id="160" name="Graphic 114">
              <a:extLst>
                <a:ext uri="{FF2B5EF4-FFF2-40B4-BE49-F238E27FC236}">
                  <a16:creationId xmlns:a16="http://schemas.microsoft.com/office/drawing/2014/main" id="{E861F28C-2384-41D6-A51D-36B704173255}"/>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61" name="Graphic 114">
              <a:extLst>
                <a:ext uri="{FF2B5EF4-FFF2-40B4-BE49-F238E27FC236}">
                  <a16:creationId xmlns:a16="http://schemas.microsoft.com/office/drawing/2014/main" id="{0F871374-5251-4B84-9A03-C4EF309F5C76}"/>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162" name="Graphic 114">
            <a:extLst>
              <a:ext uri="{FF2B5EF4-FFF2-40B4-BE49-F238E27FC236}">
                <a16:creationId xmlns:a16="http://schemas.microsoft.com/office/drawing/2014/main" id="{A28172AE-F645-4168-B7C1-0EBFB7FBAAAF}"/>
              </a:ext>
            </a:extLst>
          </p:cNvPr>
          <p:cNvGrpSpPr/>
          <p:nvPr/>
        </p:nvGrpSpPr>
        <p:grpSpPr>
          <a:xfrm>
            <a:off x="9568625" y="5922310"/>
            <a:ext cx="125994" cy="278028"/>
            <a:chOff x="9875857" y="4378507"/>
            <a:chExt cx="125994" cy="278028"/>
          </a:xfrm>
          <a:solidFill>
            <a:srgbClr val="747373"/>
          </a:solidFill>
        </p:grpSpPr>
        <p:sp>
          <p:nvSpPr>
            <p:cNvPr id="163" name="Graphic 114">
              <a:extLst>
                <a:ext uri="{FF2B5EF4-FFF2-40B4-BE49-F238E27FC236}">
                  <a16:creationId xmlns:a16="http://schemas.microsoft.com/office/drawing/2014/main" id="{C3EBC130-A787-4D11-B34B-A6ABD709944B}"/>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164" name="Graphic 114">
              <a:extLst>
                <a:ext uri="{FF2B5EF4-FFF2-40B4-BE49-F238E27FC236}">
                  <a16:creationId xmlns:a16="http://schemas.microsoft.com/office/drawing/2014/main" id="{7E38C996-CE50-4185-B282-B6479BE7BF32}"/>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165" name="Graphic 114">
            <a:extLst>
              <a:ext uri="{FF2B5EF4-FFF2-40B4-BE49-F238E27FC236}">
                <a16:creationId xmlns:a16="http://schemas.microsoft.com/office/drawing/2014/main" id="{AD07D792-BEFB-4680-A4AE-13E401D42A07}"/>
              </a:ext>
            </a:extLst>
          </p:cNvPr>
          <p:cNvGrpSpPr/>
          <p:nvPr/>
        </p:nvGrpSpPr>
        <p:grpSpPr>
          <a:xfrm>
            <a:off x="9420645" y="5921054"/>
            <a:ext cx="107244" cy="278257"/>
            <a:chOff x="9727877" y="4377251"/>
            <a:chExt cx="107244" cy="278257"/>
          </a:xfrm>
          <a:solidFill>
            <a:srgbClr val="747373"/>
          </a:solidFill>
        </p:grpSpPr>
        <p:sp>
          <p:nvSpPr>
            <p:cNvPr id="166" name="Graphic 114">
              <a:extLst>
                <a:ext uri="{FF2B5EF4-FFF2-40B4-BE49-F238E27FC236}">
                  <a16:creationId xmlns:a16="http://schemas.microsoft.com/office/drawing/2014/main" id="{21A66094-9F10-414D-9793-C65E114B156F}"/>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67" name="Graphic 114">
              <a:extLst>
                <a:ext uri="{FF2B5EF4-FFF2-40B4-BE49-F238E27FC236}">
                  <a16:creationId xmlns:a16="http://schemas.microsoft.com/office/drawing/2014/main" id="{48FC236E-CB50-4629-A745-4D152D8F49E1}"/>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168" name="Graphic 114">
            <a:extLst>
              <a:ext uri="{FF2B5EF4-FFF2-40B4-BE49-F238E27FC236}">
                <a16:creationId xmlns:a16="http://schemas.microsoft.com/office/drawing/2014/main" id="{2480DD7E-A370-41D3-8132-49E6ED758FE8}"/>
              </a:ext>
            </a:extLst>
          </p:cNvPr>
          <p:cNvGrpSpPr/>
          <p:nvPr/>
        </p:nvGrpSpPr>
        <p:grpSpPr>
          <a:xfrm>
            <a:off x="9735633" y="5921054"/>
            <a:ext cx="107244" cy="278257"/>
            <a:chOff x="10042865" y="4377251"/>
            <a:chExt cx="107244" cy="278257"/>
          </a:xfrm>
          <a:solidFill>
            <a:srgbClr val="747373"/>
          </a:solidFill>
        </p:grpSpPr>
        <p:sp>
          <p:nvSpPr>
            <p:cNvPr id="169" name="Graphic 114">
              <a:extLst>
                <a:ext uri="{FF2B5EF4-FFF2-40B4-BE49-F238E27FC236}">
                  <a16:creationId xmlns:a16="http://schemas.microsoft.com/office/drawing/2014/main" id="{F1115816-9C31-493D-A5AB-124DEE1EB844}"/>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170" name="Graphic 114">
              <a:extLst>
                <a:ext uri="{FF2B5EF4-FFF2-40B4-BE49-F238E27FC236}">
                  <a16:creationId xmlns:a16="http://schemas.microsoft.com/office/drawing/2014/main" id="{756CC270-FEAA-4371-BECB-CE9442F4DB94}"/>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41" name="Groep 40">
            <a:extLst>
              <a:ext uri="{FF2B5EF4-FFF2-40B4-BE49-F238E27FC236}">
                <a16:creationId xmlns:a16="http://schemas.microsoft.com/office/drawing/2014/main" id="{6EF8612D-23F0-4C60-8B71-F9D5EC313352}"/>
              </a:ext>
            </a:extLst>
          </p:cNvPr>
          <p:cNvGrpSpPr/>
          <p:nvPr/>
        </p:nvGrpSpPr>
        <p:grpSpPr>
          <a:xfrm>
            <a:off x="152593" y="2163294"/>
            <a:ext cx="10140588" cy="537615"/>
            <a:chOff x="1025706" y="1770285"/>
            <a:chExt cx="10140588" cy="891449"/>
          </a:xfrm>
        </p:grpSpPr>
        <p:sp>
          <p:nvSpPr>
            <p:cNvPr id="215" name="Vrije vorm: vorm 214">
              <a:extLst>
                <a:ext uri="{FF2B5EF4-FFF2-40B4-BE49-F238E27FC236}">
                  <a16:creationId xmlns:a16="http://schemas.microsoft.com/office/drawing/2014/main" id="{D4D21D26-CF9D-4600-8935-4291C8C1135F}"/>
                </a:ext>
              </a:extLst>
            </p:cNvPr>
            <p:cNvSpPr/>
            <p:nvPr/>
          </p:nvSpPr>
          <p:spPr>
            <a:xfrm>
              <a:off x="1025706" y="1770285"/>
              <a:ext cx="10140588" cy="891449"/>
            </a:xfrm>
            <a:custGeom>
              <a:avLst/>
              <a:gdLst>
                <a:gd name="connsiteX0" fmla="*/ 0 w 10140588"/>
                <a:gd name="connsiteY0" fmla="*/ 0 h 891449"/>
                <a:gd name="connsiteX1" fmla="*/ 10140588 w 10140588"/>
                <a:gd name="connsiteY1" fmla="*/ 0 h 891449"/>
                <a:gd name="connsiteX2" fmla="*/ 10140588 w 10140588"/>
                <a:gd name="connsiteY2" fmla="*/ 836693 h 891449"/>
                <a:gd name="connsiteX3" fmla="*/ 10085831 w 10140588"/>
                <a:gd name="connsiteY3" fmla="*/ 891449 h 891449"/>
                <a:gd name="connsiteX4" fmla="*/ 54756 w 10140588"/>
                <a:gd name="connsiteY4" fmla="*/ 891449 h 891449"/>
                <a:gd name="connsiteX5" fmla="*/ 0 w 10140588"/>
                <a:gd name="connsiteY5" fmla="*/ 836693 h 89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0588" h="891449">
                  <a:moveTo>
                    <a:pt x="0" y="0"/>
                  </a:moveTo>
                  <a:lnTo>
                    <a:pt x="10140588" y="0"/>
                  </a:lnTo>
                  <a:lnTo>
                    <a:pt x="10140588" y="836693"/>
                  </a:lnTo>
                  <a:cubicBezTo>
                    <a:pt x="10140588" y="866927"/>
                    <a:pt x="10116066" y="891449"/>
                    <a:pt x="10085831" y="891449"/>
                  </a:cubicBezTo>
                  <a:lnTo>
                    <a:pt x="54756" y="891449"/>
                  </a:lnTo>
                  <a:cubicBezTo>
                    <a:pt x="24522" y="891449"/>
                    <a:pt x="0" y="866927"/>
                    <a:pt x="0" y="836693"/>
                  </a:cubicBezTo>
                  <a:close/>
                </a:path>
              </a:pathLst>
            </a:custGeom>
            <a:solidFill>
              <a:srgbClr val="EA5A0B"/>
            </a:solidFill>
            <a:ln w="7614" cap="flat">
              <a:noFill/>
              <a:prstDash val="solid"/>
              <a:miter/>
            </a:ln>
            <a:effectLst>
              <a:outerShdw blurRad="50800" dist="38100" dir="5400000" algn="t" rotWithShape="0">
                <a:prstClr val="black">
                  <a:alpha val="30000"/>
                </a:prstClr>
              </a:outerShdw>
            </a:effectLst>
          </p:spPr>
          <p:txBody>
            <a:bodyPr wrap="square" rtlCol="0" anchor="ctr">
              <a:noAutofit/>
            </a:bodyPr>
            <a:lstStyle/>
            <a:p>
              <a:endParaRPr lang="nl-NL" sz="5000"/>
            </a:p>
          </p:txBody>
        </p:sp>
        <p:sp>
          <p:nvSpPr>
            <p:cNvPr id="15" name="Graphic 2">
              <a:extLst>
                <a:ext uri="{FF2B5EF4-FFF2-40B4-BE49-F238E27FC236}">
                  <a16:creationId xmlns:a16="http://schemas.microsoft.com/office/drawing/2014/main" id="{B6B8BB8C-8CBA-4BB1-BBF2-6DBC48F19090}"/>
                </a:ext>
              </a:extLst>
            </p:cNvPr>
            <p:cNvSpPr/>
            <p:nvPr/>
          </p:nvSpPr>
          <p:spPr>
            <a:xfrm>
              <a:off x="3054280"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19" name="Graphic 2">
              <a:extLst>
                <a:ext uri="{FF2B5EF4-FFF2-40B4-BE49-F238E27FC236}">
                  <a16:creationId xmlns:a16="http://schemas.microsoft.com/office/drawing/2014/main" id="{546A1CF3-44D7-47B1-BB20-B7E4B719331B}"/>
                </a:ext>
              </a:extLst>
            </p:cNvPr>
            <p:cNvSpPr/>
            <p:nvPr/>
          </p:nvSpPr>
          <p:spPr>
            <a:xfrm flipH="1">
              <a:off x="7093448"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21" name="Graphic 2">
              <a:extLst>
                <a:ext uri="{FF2B5EF4-FFF2-40B4-BE49-F238E27FC236}">
                  <a16:creationId xmlns:a16="http://schemas.microsoft.com/office/drawing/2014/main" id="{4DB51405-84C4-42F2-A66B-D33F4F467629}"/>
                </a:ext>
              </a:extLst>
            </p:cNvPr>
            <p:cNvSpPr/>
            <p:nvPr/>
          </p:nvSpPr>
          <p:spPr>
            <a:xfrm flipH="1">
              <a:off x="9137062"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23" name="Graphic 2">
              <a:extLst>
                <a:ext uri="{FF2B5EF4-FFF2-40B4-BE49-F238E27FC236}">
                  <a16:creationId xmlns:a16="http://schemas.microsoft.com/office/drawing/2014/main" id="{CA5B1E0D-A03C-4FCB-8E1C-2ECF49FD0A00}"/>
                </a:ext>
              </a:extLst>
            </p:cNvPr>
            <p:cNvSpPr/>
            <p:nvPr/>
          </p:nvSpPr>
          <p:spPr>
            <a:xfrm>
              <a:off x="5075881" y="1917144"/>
              <a:ext cx="22860" cy="587367"/>
            </a:xfrm>
            <a:custGeom>
              <a:avLst/>
              <a:gdLst>
                <a:gd name="connsiteX0" fmla="*/ 0 w 7615"/>
                <a:gd name="connsiteY0" fmla="*/ 0 h 336683"/>
                <a:gd name="connsiteX1" fmla="*/ 0 w 7615"/>
                <a:gd name="connsiteY1" fmla="*/ 336683 h 336683"/>
              </a:gdLst>
              <a:ahLst/>
              <a:cxnLst>
                <a:cxn ang="0">
                  <a:pos x="connsiteX0" y="connsiteY0"/>
                </a:cxn>
                <a:cxn ang="0">
                  <a:pos x="connsiteX1" y="connsiteY1"/>
                </a:cxn>
              </a:cxnLst>
              <a:rect l="l" t="t" r="r" b="b"/>
              <a:pathLst>
                <a:path w="7615" h="336683">
                  <a:moveTo>
                    <a:pt x="0" y="0"/>
                  </a:moveTo>
                  <a:lnTo>
                    <a:pt x="0" y="336683"/>
                  </a:lnTo>
                </a:path>
              </a:pathLst>
            </a:custGeom>
            <a:ln w="7614" cap="flat">
              <a:solidFill>
                <a:srgbClr val="FFFFFF"/>
              </a:solidFill>
              <a:prstDash val="solid"/>
              <a:miter/>
            </a:ln>
          </p:spPr>
          <p:txBody>
            <a:bodyPr rtlCol="0" anchor="ctr"/>
            <a:lstStyle/>
            <a:p>
              <a:endParaRPr lang="nl-NL" sz="5000"/>
            </a:p>
          </p:txBody>
        </p:sp>
        <p:sp>
          <p:nvSpPr>
            <p:cNvPr id="46" name="Graphic 2">
              <a:extLst>
                <a:ext uri="{FF2B5EF4-FFF2-40B4-BE49-F238E27FC236}">
                  <a16:creationId xmlns:a16="http://schemas.microsoft.com/office/drawing/2014/main" id="{7B11EA50-D6CC-413E-8162-778AA10A6023}"/>
                </a:ext>
              </a:extLst>
            </p:cNvPr>
            <p:cNvSpPr txBox="1"/>
            <p:nvPr/>
          </p:nvSpPr>
          <p:spPr>
            <a:xfrm>
              <a:off x="9524960"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Arbeidsmarkt</a:t>
              </a:r>
            </a:p>
          </p:txBody>
        </p:sp>
        <p:sp>
          <p:nvSpPr>
            <p:cNvPr id="49" name="Graphic 2">
              <a:extLst>
                <a:ext uri="{FF2B5EF4-FFF2-40B4-BE49-F238E27FC236}">
                  <a16:creationId xmlns:a16="http://schemas.microsoft.com/office/drawing/2014/main" id="{8A5BAA5D-8B66-4962-9015-35AAF28463C5}"/>
                </a:ext>
              </a:extLst>
            </p:cNvPr>
            <p:cNvSpPr txBox="1"/>
            <p:nvPr/>
          </p:nvSpPr>
          <p:spPr>
            <a:xfrm>
              <a:off x="7503561"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Bureaus</a:t>
              </a:r>
            </a:p>
          </p:txBody>
        </p:sp>
        <p:sp>
          <p:nvSpPr>
            <p:cNvPr id="51" name="Graphic 2">
              <a:extLst>
                <a:ext uri="{FF2B5EF4-FFF2-40B4-BE49-F238E27FC236}">
                  <a16:creationId xmlns:a16="http://schemas.microsoft.com/office/drawing/2014/main" id="{AB0BA5E2-05A6-4BEB-A288-C6B7D4BECF33}"/>
                </a:ext>
              </a:extLst>
            </p:cNvPr>
            <p:cNvSpPr txBox="1"/>
            <p:nvPr/>
          </p:nvSpPr>
          <p:spPr>
            <a:xfrm>
              <a:off x="5238544" y="2316490"/>
              <a:ext cx="1740754"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Dienstverleners extern</a:t>
              </a:r>
            </a:p>
          </p:txBody>
        </p:sp>
        <p:sp>
          <p:nvSpPr>
            <p:cNvPr id="53" name="Graphic 2">
              <a:extLst>
                <a:ext uri="{FF2B5EF4-FFF2-40B4-BE49-F238E27FC236}">
                  <a16:creationId xmlns:a16="http://schemas.microsoft.com/office/drawing/2014/main" id="{7EBEB908-8477-4CBB-A6B2-69BBD3D97BA7}"/>
                </a:ext>
              </a:extLst>
            </p:cNvPr>
            <p:cNvSpPr txBox="1"/>
            <p:nvPr/>
          </p:nvSpPr>
          <p:spPr>
            <a:xfrm>
              <a:off x="3133112" y="2316490"/>
              <a:ext cx="187292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Dienstverleners intern</a:t>
              </a:r>
            </a:p>
          </p:txBody>
        </p:sp>
        <p:sp>
          <p:nvSpPr>
            <p:cNvPr id="55" name="Graphic 2">
              <a:extLst>
                <a:ext uri="{FF2B5EF4-FFF2-40B4-BE49-F238E27FC236}">
                  <a16:creationId xmlns:a16="http://schemas.microsoft.com/office/drawing/2014/main" id="{DF313AE8-FFA1-4495-80F5-4DC1227A76E9}"/>
                </a:ext>
              </a:extLst>
            </p:cNvPr>
            <p:cNvSpPr txBox="1"/>
            <p:nvPr/>
          </p:nvSpPr>
          <p:spPr>
            <a:xfrm>
              <a:off x="1419247" y="2316490"/>
              <a:ext cx="1246342" cy="279625"/>
            </a:xfrm>
            <a:prstGeom prst="rect">
              <a:avLst/>
            </a:prstGeom>
            <a:noFill/>
          </p:spPr>
          <p:txBody>
            <a:bodyPr wrap="square" lIns="0" tIns="0" rIns="0" bIns="0" rtlCol="0">
              <a:spAutoFit/>
            </a:bodyPr>
            <a:lstStyle/>
            <a:p>
              <a:pPr algn="ctr">
                <a:lnSpc>
                  <a:spcPct val="90000"/>
                </a:lnSpc>
              </a:pPr>
              <a:r>
                <a:rPr lang="nl-NL" sz="1200" b="1" dirty="0">
                  <a:solidFill>
                    <a:schemeClr val="bg1"/>
                  </a:solidFill>
                  <a:latin typeface="VAG Rounded Std Thin" panose="020F0802020204020204" pitchFamily="34" charset="0"/>
                  <a:cs typeface="Arial"/>
                  <a:sym typeface="Arial"/>
                  <a:rtl val="0"/>
                </a:rPr>
                <a:t>Behoefte</a:t>
              </a:r>
            </a:p>
          </p:txBody>
        </p:sp>
      </p:grpSp>
      <p:grpSp>
        <p:nvGrpSpPr>
          <p:cNvPr id="44" name="Groep 43">
            <a:extLst>
              <a:ext uri="{FF2B5EF4-FFF2-40B4-BE49-F238E27FC236}">
                <a16:creationId xmlns:a16="http://schemas.microsoft.com/office/drawing/2014/main" id="{9BC3D4F7-11D1-4EC2-8F91-BFA41F4C100B}"/>
              </a:ext>
            </a:extLst>
          </p:cNvPr>
          <p:cNvGrpSpPr/>
          <p:nvPr/>
        </p:nvGrpSpPr>
        <p:grpSpPr>
          <a:xfrm>
            <a:off x="964575" y="1985182"/>
            <a:ext cx="8517145" cy="425411"/>
            <a:chOff x="1837687" y="1798359"/>
            <a:chExt cx="8517145" cy="425411"/>
          </a:xfrm>
        </p:grpSpPr>
        <p:grpSp>
          <p:nvGrpSpPr>
            <p:cNvPr id="24" name="Graphic 2">
              <a:extLst>
                <a:ext uri="{FF2B5EF4-FFF2-40B4-BE49-F238E27FC236}">
                  <a16:creationId xmlns:a16="http://schemas.microsoft.com/office/drawing/2014/main" id="{F33CCEF0-5D18-4BCD-8830-F60958681D84}"/>
                </a:ext>
              </a:extLst>
            </p:cNvPr>
            <p:cNvGrpSpPr/>
            <p:nvPr/>
          </p:nvGrpSpPr>
          <p:grpSpPr>
            <a:xfrm>
              <a:off x="1837687" y="1798359"/>
              <a:ext cx="415505" cy="425411"/>
              <a:chOff x="1973955" y="1776325"/>
              <a:chExt cx="415505" cy="425411"/>
            </a:xfrm>
          </p:grpSpPr>
          <p:sp>
            <p:nvSpPr>
              <p:cNvPr id="25" name="Graphic 2">
                <a:extLst>
                  <a:ext uri="{FF2B5EF4-FFF2-40B4-BE49-F238E27FC236}">
                    <a16:creationId xmlns:a16="http://schemas.microsoft.com/office/drawing/2014/main" id="{9D9915E6-4C6F-4B10-85F1-421686D1C497}"/>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26" name="Graphic 2">
                <a:extLst>
                  <a:ext uri="{FF2B5EF4-FFF2-40B4-BE49-F238E27FC236}">
                    <a16:creationId xmlns:a16="http://schemas.microsoft.com/office/drawing/2014/main" id="{B4649E77-633D-4064-B04C-85B6F41ADA5C}"/>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28" name="Graphic 2">
              <a:extLst>
                <a:ext uri="{FF2B5EF4-FFF2-40B4-BE49-F238E27FC236}">
                  <a16:creationId xmlns:a16="http://schemas.microsoft.com/office/drawing/2014/main" id="{47276F8A-FF12-484E-AD7B-5E3338EAEE72}"/>
                </a:ext>
              </a:extLst>
            </p:cNvPr>
            <p:cNvGrpSpPr/>
            <p:nvPr/>
          </p:nvGrpSpPr>
          <p:grpSpPr>
            <a:xfrm>
              <a:off x="3870394" y="1798359"/>
              <a:ext cx="415505" cy="425411"/>
              <a:chOff x="1973955" y="1776325"/>
              <a:chExt cx="415505" cy="425411"/>
            </a:xfrm>
          </p:grpSpPr>
          <p:sp>
            <p:nvSpPr>
              <p:cNvPr id="29" name="Graphic 2">
                <a:extLst>
                  <a:ext uri="{FF2B5EF4-FFF2-40B4-BE49-F238E27FC236}">
                    <a16:creationId xmlns:a16="http://schemas.microsoft.com/office/drawing/2014/main" id="{3B2DB40B-7849-4B68-8E65-8FC6E012357D}"/>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0" name="Graphic 2">
                <a:extLst>
                  <a:ext uri="{FF2B5EF4-FFF2-40B4-BE49-F238E27FC236}">
                    <a16:creationId xmlns:a16="http://schemas.microsoft.com/office/drawing/2014/main" id="{B9DB3966-236C-4AE0-B666-EAE4128665DF}"/>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1" name="Graphic 2">
              <a:extLst>
                <a:ext uri="{FF2B5EF4-FFF2-40B4-BE49-F238E27FC236}">
                  <a16:creationId xmlns:a16="http://schemas.microsoft.com/office/drawing/2014/main" id="{87C06F08-08F0-4912-8D00-67C6724F77EE}"/>
                </a:ext>
              </a:extLst>
            </p:cNvPr>
            <p:cNvGrpSpPr/>
            <p:nvPr/>
          </p:nvGrpSpPr>
          <p:grpSpPr>
            <a:xfrm>
              <a:off x="5891994" y="1798359"/>
              <a:ext cx="415505" cy="425411"/>
              <a:chOff x="1973955" y="1776325"/>
              <a:chExt cx="415505" cy="425411"/>
            </a:xfrm>
          </p:grpSpPr>
          <p:sp>
            <p:nvSpPr>
              <p:cNvPr id="32" name="Graphic 2">
                <a:extLst>
                  <a:ext uri="{FF2B5EF4-FFF2-40B4-BE49-F238E27FC236}">
                    <a16:creationId xmlns:a16="http://schemas.microsoft.com/office/drawing/2014/main" id="{688962C1-4DCF-4940-AB7A-B4971F5EC54D}"/>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3" name="Graphic 2">
                <a:extLst>
                  <a:ext uri="{FF2B5EF4-FFF2-40B4-BE49-F238E27FC236}">
                    <a16:creationId xmlns:a16="http://schemas.microsoft.com/office/drawing/2014/main" id="{FB35F0B6-A142-40AE-AD95-7DC57D8A1792}"/>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4" name="Graphic 2">
              <a:extLst>
                <a:ext uri="{FF2B5EF4-FFF2-40B4-BE49-F238E27FC236}">
                  <a16:creationId xmlns:a16="http://schemas.microsoft.com/office/drawing/2014/main" id="{D788CE51-8467-4E7E-8BD7-E85DFA41EC31}"/>
                </a:ext>
              </a:extLst>
            </p:cNvPr>
            <p:cNvGrpSpPr/>
            <p:nvPr/>
          </p:nvGrpSpPr>
          <p:grpSpPr>
            <a:xfrm>
              <a:off x="7908281" y="1798359"/>
              <a:ext cx="415505" cy="425411"/>
              <a:chOff x="1973955" y="1776325"/>
              <a:chExt cx="415505" cy="425411"/>
            </a:xfrm>
          </p:grpSpPr>
          <p:sp>
            <p:nvSpPr>
              <p:cNvPr id="35" name="Graphic 2">
                <a:extLst>
                  <a:ext uri="{FF2B5EF4-FFF2-40B4-BE49-F238E27FC236}">
                    <a16:creationId xmlns:a16="http://schemas.microsoft.com/office/drawing/2014/main" id="{7C20EB54-73F7-4317-9414-806831E026FE}"/>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6" name="Graphic 2">
                <a:extLst>
                  <a:ext uri="{FF2B5EF4-FFF2-40B4-BE49-F238E27FC236}">
                    <a16:creationId xmlns:a16="http://schemas.microsoft.com/office/drawing/2014/main" id="{81EEC9B2-CD69-40EF-B0B7-8555519D03E8}"/>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nvGrpSpPr>
            <p:cNvPr id="37" name="Graphic 2">
              <a:extLst>
                <a:ext uri="{FF2B5EF4-FFF2-40B4-BE49-F238E27FC236}">
                  <a16:creationId xmlns:a16="http://schemas.microsoft.com/office/drawing/2014/main" id="{7C63CD05-C346-45D3-B046-3033994BFCDF}"/>
                </a:ext>
              </a:extLst>
            </p:cNvPr>
            <p:cNvGrpSpPr/>
            <p:nvPr/>
          </p:nvGrpSpPr>
          <p:grpSpPr>
            <a:xfrm>
              <a:off x="9939327" y="1798359"/>
              <a:ext cx="415505" cy="425411"/>
              <a:chOff x="1973955" y="1776325"/>
              <a:chExt cx="415505" cy="425411"/>
            </a:xfrm>
          </p:grpSpPr>
          <p:sp>
            <p:nvSpPr>
              <p:cNvPr id="38" name="Graphic 2">
                <a:extLst>
                  <a:ext uri="{FF2B5EF4-FFF2-40B4-BE49-F238E27FC236}">
                    <a16:creationId xmlns:a16="http://schemas.microsoft.com/office/drawing/2014/main" id="{6CEE6F0E-0A11-418C-9E7D-419FCAEE9141}"/>
                  </a:ext>
                </a:extLst>
              </p:cNvPr>
              <p:cNvSpPr/>
              <p:nvPr/>
            </p:nvSpPr>
            <p:spPr>
              <a:xfrm>
                <a:off x="1973955" y="1776325"/>
                <a:ext cx="415505" cy="415504"/>
              </a:xfrm>
              <a:custGeom>
                <a:avLst/>
                <a:gdLst>
                  <a:gd name="connsiteX0" fmla="*/ 415506 w 415505"/>
                  <a:gd name="connsiteY0" fmla="*/ 207752 h 415504"/>
                  <a:gd name="connsiteX1" fmla="*/ 207753 w 415505"/>
                  <a:gd name="connsiteY1" fmla="*/ 415504 h 415504"/>
                  <a:gd name="connsiteX2" fmla="*/ 0 w 415505"/>
                  <a:gd name="connsiteY2" fmla="*/ 207752 h 415504"/>
                  <a:gd name="connsiteX3" fmla="*/ 207753 w 415505"/>
                  <a:gd name="connsiteY3" fmla="*/ 0 h 415504"/>
                  <a:gd name="connsiteX4" fmla="*/ 415506 w 415505"/>
                  <a:gd name="connsiteY4" fmla="*/ 207752 h 41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05" h="415504">
                    <a:moveTo>
                      <a:pt x="415506" y="207752"/>
                    </a:moveTo>
                    <a:cubicBezTo>
                      <a:pt x="415506" y="322490"/>
                      <a:pt x="322491" y="415504"/>
                      <a:pt x="207753" y="415504"/>
                    </a:cubicBezTo>
                    <a:cubicBezTo>
                      <a:pt x="93014" y="415504"/>
                      <a:pt x="0" y="322490"/>
                      <a:pt x="0" y="207752"/>
                    </a:cubicBezTo>
                    <a:cubicBezTo>
                      <a:pt x="0" y="93014"/>
                      <a:pt x="93014" y="0"/>
                      <a:pt x="207753" y="0"/>
                    </a:cubicBezTo>
                    <a:cubicBezTo>
                      <a:pt x="322491" y="0"/>
                      <a:pt x="415506" y="93014"/>
                      <a:pt x="415506" y="207752"/>
                    </a:cubicBezTo>
                    <a:close/>
                  </a:path>
                </a:pathLst>
              </a:custGeom>
              <a:solidFill>
                <a:srgbClr val="FFFFFF"/>
              </a:solidFill>
              <a:ln w="7614" cap="flat">
                <a:noFill/>
                <a:prstDash val="solid"/>
                <a:miter/>
              </a:ln>
            </p:spPr>
            <p:txBody>
              <a:bodyPr rtlCol="0" anchor="ctr"/>
              <a:lstStyle/>
              <a:p>
                <a:endParaRPr lang="nl-NL" sz="5000"/>
              </a:p>
            </p:txBody>
          </p:sp>
          <p:sp>
            <p:nvSpPr>
              <p:cNvPr id="39" name="Graphic 2">
                <a:extLst>
                  <a:ext uri="{FF2B5EF4-FFF2-40B4-BE49-F238E27FC236}">
                    <a16:creationId xmlns:a16="http://schemas.microsoft.com/office/drawing/2014/main" id="{EBFC51FA-D14B-4544-BEC1-8DA2940E39DB}"/>
                  </a:ext>
                </a:extLst>
              </p:cNvPr>
              <p:cNvSpPr/>
              <p:nvPr/>
            </p:nvSpPr>
            <p:spPr>
              <a:xfrm>
                <a:off x="2067017" y="1869448"/>
                <a:ext cx="229380" cy="229380"/>
              </a:xfrm>
              <a:custGeom>
                <a:avLst/>
                <a:gdLst>
                  <a:gd name="connsiteX0" fmla="*/ 114690 w 229380"/>
                  <a:gd name="connsiteY0" fmla="*/ 228428 h 229380"/>
                  <a:gd name="connsiteX1" fmla="*/ 229381 w 229380"/>
                  <a:gd name="connsiteY1" fmla="*/ 113738 h 229380"/>
                  <a:gd name="connsiteX2" fmla="*/ 114690 w 229380"/>
                  <a:gd name="connsiteY2" fmla="*/ -952 h 229380"/>
                  <a:gd name="connsiteX3" fmla="*/ 0 w 229380"/>
                  <a:gd name="connsiteY3" fmla="*/ 113738 h 229380"/>
                  <a:gd name="connsiteX4" fmla="*/ 114690 w 229380"/>
                  <a:gd name="connsiteY4" fmla="*/ 228428 h 229380"/>
                  <a:gd name="connsiteX5" fmla="*/ 114690 w 229380"/>
                  <a:gd name="connsiteY5" fmla="*/ 190122 h 229380"/>
                  <a:gd name="connsiteX6" fmla="*/ 110654 w 229380"/>
                  <a:gd name="connsiteY6" fmla="*/ 188446 h 229380"/>
                  <a:gd name="connsiteX7" fmla="*/ 60696 w 229380"/>
                  <a:gd name="connsiteY7" fmla="*/ 141383 h 229380"/>
                  <a:gd name="connsiteX8" fmla="*/ 60544 w 229380"/>
                  <a:gd name="connsiteY8" fmla="*/ 133006 h 229380"/>
                  <a:gd name="connsiteX9" fmla="*/ 68845 w 229380"/>
                  <a:gd name="connsiteY9" fmla="*/ 132853 h 229380"/>
                  <a:gd name="connsiteX10" fmla="*/ 108903 w 229380"/>
                  <a:gd name="connsiteY10" fmla="*/ 170626 h 229380"/>
                  <a:gd name="connsiteX11" fmla="*/ 108903 w 229380"/>
                  <a:gd name="connsiteY11" fmla="*/ 43066 h 229380"/>
                  <a:gd name="connsiteX12" fmla="*/ 114767 w 229380"/>
                  <a:gd name="connsiteY12" fmla="*/ 37202 h 229380"/>
                  <a:gd name="connsiteX13" fmla="*/ 120631 w 229380"/>
                  <a:gd name="connsiteY13" fmla="*/ 43066 h 229380"/>
                  <a:gd name="connsiteX14" fmla="*/ 120631 w 229380"/>
                  <a:gd name="connsiteY14" fmla="*/ 170626 h 229380"/>
                  <a:gd name="connsiteX15" fmla="*/ 160689 w 229380"/>
                  <a:gd name="connsiteY15" fmla="*/ 132853 h 229380"/>
                  <a:gd name="connsiteX16" fmla="*/ 169066 w 229380"/>
                  <a:gd name="connsiteY16" fmla="*/ 133006 h 229380"/>
                  <a:gd name="connsiteX17" fmla="*/ 168761 w 229380"/>
                  <a:gd name="connsiteY17" fmla="*/ 141383 h 229380"/>
                  <a:gd name="connsiteX18" fmla="*/ 118803 w 229380"/>
                  <a:gd name="connsiteY18" fmla="*/ 188446 h 229380"/>
                  <a:gd name="connsiteX19" fmla="*/ 114690 w 229380"/>
                  <a:gd name="connsiteY19" fmla="*/ 190122 h 229380"/>
                  <a:gd name="connsiteX20" fmla="*/ 114690 w 229380"/>
                  <a:gd name="connsiteY20" fmla="*/ 190122 h 22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380" h="229380">
                    <a:moveTo>
                      <a:pt x="114690" y="228428"/>
                    </a:moveTo>
                    <a:cubicBezTo>
                      <a:pt x="178052" y="228428"/>
                      <a:pt x="229381" y="177099"/>
                      <a:pt x="229381" y="113738"/>
                    </a:cubicBezTo>
                    <a:cubicBezTo>
                      <a:pt x="229381" y="50376"/>
                      <a:pt x="178052" y="-952"/>
                      <a:pt x="114690" y="-952"/>
                    </a:cubicBezTo>
                    <a:cubicBezTo>
                      <a:pt x="51329" y="-952"/>
                      <a:pt x="0" y="50376"/>
                      <a:pt x="0" y="113738"/>
                    </a:cubicBezTo>
                    <a:cubicBezTo>
                      <a:pt x="0" y="177023"/>
                      <a:pt x="51329" y="228428"/>
                      <a:pt x="114690" y="228428"/>
                    </a:cubicBezTo>
                    <a:close/>
                    <a:moveTo>
                      <a:pt x="114690" y="190122"/>
                    </a:moveTo>
                    <a:cubicBezTo>
                      <a:pt x="113320" y="190122"/>
                      <a:pt x="112025" y="189817"/>
                      <a:pt x="110654" y="188446"/>
                    </a:cubicBezTo>
                    <a:lnTo>
                      <a:pt x="60696" y="141383"/>
                    </a:lnTo>
                    <a:cubicBezTo>
                      <a:pt x="58411" y="139250"/>
                      <a:pt x="58259" y="135366"/>
                      <a:pt x="60544" y="133006"/>
                    </a:cubicBezTo>
                    <a:cubicBezTo>
                      <a:pt x="62676" y="130797"/>
                      <a:pt x="66560" y="130721"/>
                      <a:pt x="68845" y="132853"/>
                    </a:cubicBezTo>
                    <a:lnTo>
                      <a:pt x="108903" y="170626"/>
                    </a:lnTo>
                    <a:lnTo>
                      <a:pt x="108903" y="43066"/>
                    </a:lnTo>
                    <a:cubicBezTo>
                      <a:pt x="108903" y="39791"/>
                      <a:pt x="111568" y="37202"/>
                      <a:pt x="114767" y="37202"/>
                    </a:cubicBezTo>
                    <a:cubicBezTo>
                      <a:pt x="118041" y="37202"/>
                      <a:pt x="120631" y="39867"/>
                      <a:pt x="120631" y="43066"/>
                    </a:cubicBezTo>
                    <a:lnTo>
                      <a:pt x="120631" y="170626"/>
                    </a:lnTo>
                    <a:lnTo>
                      <a:pt x="160689" y="132853"/>
                    </a:lnTo>
                    <a:cubicBezTo>
                      <a:pt x="162897" y="130721"/>
                      <a:pt x="167009" y="130721"/>
                      <a:pt x="169066" y="133006"/>
                    </a:cubicBezTo>
                    <a:cubicBezTo>
                      <a:pt x="171350" y="135595"/>
                      <a:pt x="171046" y="139174"/>
                      <a:pt x="168761" y="141383"/>
                    </a:cubicBezTo>
                    <a:lnTo>
                      <a:pt x="118803" y="188446"/>
                    </a:lnTo>
                    <a:cubicBezTo>
                      <a:pt x="117813" y="189360"/>
                      <a:pt x="116061" y="190122"/>
                      <a:pt x="114690" y="190122"/>
                    </a:cubicBezTo>
                    <a:lnTo>
                      <a:pt x="114690" y="190122"/>
                    </a:lnTo>
                    <a:close/>
                  </a:path>
                </a:pathLst>
              </a:custGeom>
              <a:solidFill>
                <a:srgbClr val="EA5A0B"/>
              </a:solidFill>
              <a:ln w="7614" cap="flat">
                <a:noFill/>
                <a:prstDash val="solid"/>
                <a:miter/>
              </a:ln>
            </p:spPr>
            <p:txBody>
              <a:bodyPr rtlCol="0" anchor="ctr"/>
              <a:lstStyle/>
              <a:p>
                <a:endParaRPr lang="nl-NL" sz="5000"/>
              </a:p>
            </p:txBody>
          </p:sp>
        </p:grpSp>
      </p:grpSp>
      <p:grpSp>
        <p:nvGrpSpPr>
          <p:cNvPr id="208" name="Graphic 114">
            <a:extLst>
              <a:ext uri="{FF2B5EF4-FFF2-40B4-BE49-F238E27FC236}">
                <a16:creationId xmlns:a16="http://schemas.microsoft.com/office/drawing/2014/main" id="{9E920ABF-14C8-C54A-BB3C-F096C159102F}"/>
              </a:ext>
            </a:extLst>
          </p:cNvPr>
          <p:cNvGrpSpPr/>
          <p:nvPr/>
        </p:nvGrpSpPr>
        <p:grpSpPr>
          <a:xfrm>
            <a:off x="9040624" y="3244104"/>
            <a:ext cx="737221" cy="920794"/>
            <a:chOff x="9412888" y="4377251"/>
            <a:chExt cx="737221" cy="920794"/>
          </a:xfrm>
          <a:solidFill>
            <a:srgbClr val="747373"/>
          </a:solidFill>
        </p:grpSpPr>
        <p:grpSp>
          <p:nvGrpSpPr>
            <p:cNvPr id="218" name="Graphic 114">
              <a:extLst>
                <a:ext uri="{FF2B5EF4-FFF2-40B4-BE49-F238E27FC236}">
                  <a16:creationId xmlns:a16="http://schemas.microsoft.com/office/drawing/2014/main" id="{4B495119-A5AC-0644-A461-E9F87EF1D7C7}"/>
                </a:ext>
              </a:extLst>
            </p:cNvPr>
            <p:cNvGrpSpPr/>
            <p:nvPr/>
          </p:nvGrpSpPr>
          <p:grpSpPr>
            <a:xfrm>
              <a:off x="9560869" y="4378507"/>
              <a:ext cx="125994" cy="278028"/>
              <a:chOff x="9560869" y="4378507"/>
              <a:chExt cx="125994" cy="278028"/>
            </a:xfrm>
            <a:solidFill>
              <a:srgbClr val="747373"/>
            </a:solidFill>
          </p:grpSpPr>
          <p:sp>
            <p:nvSpPr>
              <p:cNvPr id="261" name="Graphic 114">
                <a:extLst>
                  <a:ext uri="{FF2B5EF4-FFF2-40B4-BE49-F238E27FC236}">
                    <a16:creationId xmlns:a16="http://schemas.microsoft.com/office/drawing/2014/main" id="{15465E48-7E2E-0244-9E9E-23A9226FCD34}"/>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62" name="Graphic 114">
                <a:extLst>
                  <a:ext uri="{FF2B5EF4-FFF2-40B4-BE49-F238E27FC236}">
                    <a16:creationId xmlns:a16="http://schemas.microsoft.com/office/drawing/2014/main" id="{40B1EDCA-8508-034E-B00D-B36F6A2FD817}"/>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19" name="Graphic 114">
              <a:extLst>
                <a:ext uri="{FF2B5EF4-FFF2-40B4-BE49-F238E27FC236}">
                  <a16:creationId xmlns:a16="http://schemas.microsoft.com/office/drawing/2014/main" id="{2D979A4E-5B27-FA40-B407-AD17D8BCDD40}"/>
                </a:ext>
              </a:extLst>
            </p:cNvPr>
            <p:cNvGrpSpPr/>
            <p:nvPr/>
          </p:nvGrpSpPr>
          <p:grpSpPr>
            <a:xfrm>
              <a:off x="9412888" y="4377251"/>
              <a:ext cx="107244" cy="278257"/>
              <a:chOff x="9412888" y="4377251"/>
              <a:chExt cx="107244" cy="278257"/>
            </a:xfrm>
            <a:solidFill>
              <a:srgbClr val="747373"/>
            </a:solidFill>
          </p:grpSpPr>
          <p:sp>
            <p:nvSpPr>
              <p:cNvPr id="259" name="Graphic 114">
                <a:extLst>
                  <a:ext uri="{FF2B5EF4-FFF2-40B4-BE49-F238E27FC236}">
                    <a16:creationId xmlns:a16="http://schemas.microsoft.com/office/drawing/2014/main" id="{78A4D104-B189-E646-8854-F2B1255C2D9D}"/>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60" name="Graphic 114">
                <a:extLst>
                  <a:ext uri="{FF2B5EF4-FFF2-40B4-BE49-F238E27FC236}">
                    <a16:creationId xmlns:a16="http://schemas.microsoft.com/office/drawing/2014/main" id="{C01E9437-F71B-6E47-AEF9-C50D38446BBE}"/>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0" name="Graphic 114">
              <a:extLst>
                <a:ext uri="{FF2B5EF4-FFF2-40B4-BE49-F238E27FC236}">
                  <a16:creationId xmlns:a16="http://schemas.microsoft.com/office/drawing/2014/main" id="{94ACE7BD-F864-1D4C-93EF-841103C73A57}"/>
                </a:ext>
              </a:extLst>
            </p:cNvPr>
            <p:cNvGrpSpPr/>
            <p:nvPr/>
          </p:nvGrpSpPr>
          <p:grpSpPr>
            <a:xfrm>
              <a:off x="9875857" y="4378507"/>
              <a:ext cx="125994" cy="278028"/>
              <a:chOff x="9875857" y="4378507"/>
              <a:chExt cx="125994" cy="278028"/>
            </a:xfrm>
            <a:solidFill>
              <a:srgbClr val="747373"/>
            </a:solidFill>
          </p:grpSpPr>
          <p:sp>
            <p:nvSpPr>
              <p:cNvPr id="257" name="Graphic 114">
                <a:extLst>
                  <a:ext uri="{FF2B5EF4-FFF2-40B4-BE49-F238E27FC236}">
                    <a16:creationId xmlns:a16="http://schemas.microsoft.com/office/drawing/2014/main" id="{8F710B9B-244A-3E49-B89E-6E4DA6FF2817}"/>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58" name="Graphic 114">
                <a:extLst>
                  <a:ext uri="{FF2B5EF4-FFF2-40B4-BE49-F238E27FC236}">
                    <a16:creationId xmlns:a16="http://schemas.microsoft.com/office/drawing/2014/main" id="{4CC9B01A-8492-A948-8D8A-A7C0902F0D9C}"/>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1" name="Graphic 114">
              <a:extLst>
                <a:ext uri="{FF2B5EF4-FFF2-40B4-BE49-F238E27FC236}">
                  <a16:creationId xmlns:a16="http://schemas.microsoft.com/office/drawing/2014/main" id="{7E84ED1F-AA50-0B4A-93B1-E44CC0EB0668}"/>
                </a:ext>
              </a:extLst>
            </p:cNvPr>
            <p:cNvGrpSpPr/>
            <p:nvPr/>
          </p:nvGrpSpPr>
          <p:grpSpPr>
            <a:xfrm>
              <a:off x="9727877" y="4377251"/>
              <a:ext cx="107244" cy="278257"/>
              <a:chOff x="9727877" y="4377251"/>
              <a:chExt cx="107244" cy="278257"/>
            </a:xfrm>
            <a:solidFill>
              <a:srgbClr val="747373"/>
            </a:solidFill>
          </p:grpSpPr>
          <p:sp>
            <p:nvSpPr>
              <p:cNvPr id="255" name="Graphic 114">
                <a:extLst>
                  <a:ext uri="{FF2B5EF4-FFF2-40B4-BE49-F238E27FC236}">
                    <a16:creationId xmlns:a16="http://schemas.microsoft.com/office/drawing/2014/main" id="{0101054D-6779-6946-9B25-05E9EA0AA5F4}"/>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6" name="Graphic 114">
                <a:extLst>
                  <a:ext uri="{FF2B5EF4-FFF2-40B4-BE49-F238E27FC236}">
                    <a16:creationId xmlns:a16="http://schemas.microsoft.com/office/drawing/2014/main" id="{CEA49177-DBA4-E940-B661-515CFF0B804C}"/>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2" name="Graphic 114">
              <a:extLst>
                <a:ext uri="{FF2B5EF4-FFF2-40B4-BE49-F238E27FC236}">
                  <a16:creationId xmlns:a16="http://schemas.microsoft.com/office/drawing/2014/main" id="{9F0B0D9B-E21C-3F4E-AFF0-0BED3970CCAE}"/>
                </a:ext>
              </a:extLst>
            </p:cNvPr>
            <p:cNvGrpSpPr/>
            <p:nvPr/>
          </p:nvGrpSpPr>
          <p:grpSpPr>
            <a:xfrm>
              <a:off x="10042865" y="4377251"/>
              <a:ext cx="107244" cy="278257"/>
              <a:chOff x="10042865" y="4377251"/>
              <a:chExt cx="107244" cy="278257"/>
            </a:xfrm>
            <a:solidFill>
              <a:srgbClr val="747373"/>
            </a:solidFill>
          </p:grpSpPr>
          <p:sp>
            <p:nvSpPr>
              <p:cNvPr id="253" name="Graphic 114">
                <a:extLst>
                  <a:ext uri="{FF2B5EF4-FFF2-40B4-BE49-F238E27FC236}">
                    <a16:creationId xmlns:a16="http://schemas.microsoft.com/office/drawing/2014/main" id="{EFE8D75B-0F0F-704E-9A32-6731ABA3FF62}"/>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4" name="Graphic 114">
                <a:extLst>
                  <a:ext uri="{FF2B5EF4-FFF2-40B4-BE49-F238E27FC236}">
                    <a16:creationId xmlns:a16="http://schemas.microsoft.com/office/drawing/2014/main" id="{3CDA8D9B-9A9C-FF47-AFDE-CC0DEDD1A576}"/>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3" name="Graphic 114">
              <a:extLst>
                <a:ext uri="{FF2B5EF4-FFF2-40B4-BE49-F238E27FC236}">
                  <a16:creationId xmlns:a16="http://schemas.microsoft.com/office/drawing/2014/main" id="{026B6127-7D58-4E49-B9AF-1276C724F5B9}"/>
                </a:ext>
              </a:extLst>
            </p:cNvPr>
            <p:cNvGrpSpPr/>
            <p:nvPr/>
          </p:nvGrpSpPr>
          <p:grpSpPr>
            <a:xfrm>
              <a:off x="9560869" y="4705250"/>
              <a:ext cx="125994" cy="278028"/>
              <a:chOff x="9560869" y="4705250"/>
              <a:chExt cx="125994" cy="278028"/>
            </a:xfrm>
            <a:solidFill>
              <a:srgbClr val="747373"/>
            </a:solidFill>
          </p:grpSpPr>
          <p:sp>
            <p:nvSpPr>
              <p:cNvPr id="251" name="Graphic 114">
                <a:extLst>
                  <a:ext uri="{FF2B5EF4-FFF2-40B4-BE49-F238E27FC236}">
                    <a16:creationId xmlns:a16="http://schemas.microsoft.com/office/drawing/2014/main" id="{E851B8A6-D3AA-B848-BD6F-FA21118C09A7}"/>
                  </a:ext>
                </a:extLst>
              </p:cNvPr>
              <p:cNvSpPr/>
              <p:nvPr/>
            </p:nvSpPr>
            <p:spPr>
              <a:xfrm>
                <a:off x="9560869"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52" name="Graphic 114">
                <a:extLst>
                  <a:ext uri="{FF2B5EF4-FFF2-40B4-BE49-F238E27FC236}">
                    <a16:creationId xmlns:a16="http://schemas.microsoft.com/office/drawing/2014/main" id="{969BA82F-A8C7-424A-89F6-8679DD937F4B}"/>
                  </a:ext>
                </a:extLst>
              </p:cNvPr>
              <p:cNvSpPr/>
              <p:nvPr/>
            </p:nvSpPr>
            <p:spPr>
              <a:xfrm>
                <a:off x="9601837"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4" name="Graphic 114">
              <a:extLst>
                <a:ext uri="{FF2B5EF4-FFF2-40B4-BE49-F238E27FC236}">
                  <a16:creationId xmlns:a16="http://schemas.microsoft.com/office/drawing/2014/main" id="{0BE88EE7-B6DB-B947-8FB3-130D097CC3CF}"/>
                </a:ext>
              </a:extLst>
            </p:cNvPr>
            <p:cNvGrpSpPr/>
            <p:nvPr/>
          </p:nvGrpSpPr>
          <p:grpSpPr>
            <a:xfrm>
              <a:off x="9412888" y="4703993"/>
              <a:ext cx="107244" cy="278257"/>
              <a:chOff x="9412888" y="4703993"/>
              <a:chExt cx="107244" cy="278257"/>
            </a:xfrm>
            <a:solidFill>
              <a:srgbClr val="747373"/>
            </a:solidFill>
          </p:grpSpPr>
          <p:sp>
            <p:nvSpPr>
              <p:cNvPr id="249" name="Graphic 114">
                <a:extLst>
                  <a:ext uri="{FF2B5EF4-FFF2-40B4-BE49-F238E27FC236}">
                    <a16:creationId xmlns:a16="http://schemas.microsoft.com/office/drawing/2014/main" id="{827AFB91-E26D-9344-A865-DA14A89F6AEE}"/>
                  </a:ext>
                </a:extLst>
              </p:cNvPr>
              <p:cNvSpPr/>
              <p:nvPr/>
            </p:nvSpPr>
            <p:spPr>
              <a:xfrm>
                <a:off x="9412888"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4"/>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411"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50" name="Graphic 114">
                <a:extLst>
                  <a:ext uri="{FF2B5EF4-FFF2-40B4-BE49-F238E27FC236}">
                    <a16:creationId xmlns:a16="http://schemas.microsoft.com/office/drawing/2014/main" id="{4E95FE77-017E-3248-B4CC-683CF3C1A530}"/>
                  </a:ext>
                </a:extLst>
              </p:cNvPr>
              <p:cNvSpPr/>
              <p:nvPr/>
            </p:nvSpPr>
            <p:spPr>
              <a:xfrm>
                <a:off x="9444601" y="4703993"/>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5" name="Graphic 114">
              <a:extLst>
                <a:ext uri="{FF2B5EF4-FFF2-40B4-BE49-F238E27FC236}">
                  <a16:creationId xmlns:a16="http://schemas.microsoft.com/office/drawing/2014/main" id="{BF80950F-090D-9D46-BD9B-1CAB565B171D}"/>
                </a:ext>
              </a:extLst>
            </p:cNvPr>
            <p:cNvGrpSpPr/>
            <p:nvPr/>
          </p:nvGrpSpPr>
          <p:grpSpPr>
            <a:xfrm>
              <a:off x="9875857" y="4705250"/>
              <a:ext cx="125994" cy="278028"/>
              <a:chOff x="9875857" y="4705250"/>
              <a:chExt cx="125994" cy="278028"/>
            </a:xfrm>
            <a:solidFill>
              <a:srgbClr val="747373"/>
            </a:solidFill>
          </p:grpSpPr>
          <p:sp>
            <p:nvSpPr>
              <p:cNvPr id="247" name="Graphic 114">
                <a:extLst>
                  <a:ext uri="{FF2B5EF4-FFF2-40B4-BE49-F238E27FC236}">
                    <a16:creationId xmlns:a16="http://schemas.microsoft.com/office/drawing/2014/main" id="{BEC1B681-70B8-8D4D-A04E-505EDC2D91B4}"/>
                  </a:ext>
                </a:extLst>
              </p:cNvPr>
              <p:cNvSpPr/>
              <p:nvPr/>
            </p:nvSpPr>
            <p:spPr>
              <a:xfrm>
                <a:off x="9875857"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48" name="Graphic 114">
                <a:extLst>
                  <a:ext uri="{FF2B5EF4-FFF2-40B4-BE49-F238E27FC236}">
                    <a16:creationId xmlns:a16="http://schemas.microsoft.com/office/drawing/2014/main" id="{162B72E9-E31B-DD4A-8B03-BE83EDBE4BFD}"/>
                  </a:ext>
                </a:extLst>
              </p:cNvPr>
              <p:cNvSpPr/>
              <p:nvPr/>
            </p:nvSpPr>
            <p:spPr>
              <a:xfrm>
                <a:off x="9916825"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6" name="Graphic 114">
              <a:extLst>
                <a:ext uri="{FF2B5EF4-FFF2-40B4-BE49-F238E27FC236}">
                  <a16:creationId xmlns:a16="http://schemas.microsoft.com/office/drawing/2014/main" id="{BF566F81-C0EA-344A-BAC2-704291790984}"/>
                </a:ext>
              </a:extLst>
            </p:cNvPr>
            <p:cNvGrpSpPr/>
            <p:nvPr/>
          </p:nvGrpSpPr>
          <p:grpSpPr>
            <a:xfrm>
              <a:off x="9727877" y="4703993"/>
              <a:ext cx="107244" cy="278257"/>
              <a:chOff x="9727877" y="4703993"/>
              <a:chExt cx="107244" cy="278257"/>
            </a:xfrm>
            <a:solidFill>
              <a:srgbClr val="747373"/>
            </a:solidFill>
          </p:grpSpPr>
          <p:sp>
            <p:nvSpPr>
              <p:cNvPr id="245" name="Graphic 114">
                <a:extLst>
                  <a:ext uri="{FF2B5EF4-FFF2-40B4-BE49-F238E27FC236}">
                    <a16:creationId xmlns:a16="http://schemas.microsoft.com/office/drawing/2014/main" id="{27D46F04-A496-E94B-89D6-3BC5414C19C0}"/>
                  </a:ext>
                </a:extLst>
              </p:cNvPr>
              <p:cNvSpPr/>
              <p:nvPr/>
            </p:nvSpPr>
            <p:spPr>
              <a:xfrm>
                <a:off x="9727877"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337"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6" name="Graphic 114">
                <a:extLst>
                  <a:ext uri="{FF2B5EF4-FFF2-40B4-BE49-F238E27FC236}">
                    <a16:creationId xmlns:a16="http://schemas.microsoft.com/office/drawing/2014/main" id="{FC8E76C3-7A43-DF4E-9F62-523FAA1E1366}"/>
                  </a:ext>
                </a:extLst>
              </p:cNvPr>
              <p:cNvSpPr/>
              <p:nvPr/>
            </p:nvSpPr>
            <p:spPr>
              <a:xfrm>
                <a:off x="9759516" y="4703993"/>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7" name="Graphic 114">
              <a:extLst>
                <a:ext uri="{FF2B5EF4-FFF2-40B4-BE49-F238E27FC236}">
                  <a16:creationId xmlns:a16="http://schemas.microsoft.com/office/drawing/2014/main" id="{FDA33260-928A-CD42-BB10-3979CC7AE82A}"/>
                </a:ext>
              </a:extLst>
            </p:cNvPr>
            <p:cNvGrpSpPr/>
            <p:nvPr/>
          </p:nvGrpSpPr>
          <p:grpSpPr>
            <a:xfrm>
              <a:off x="10042865" y="4703993"/>
              <a:ext cx="107244" cy="278257"/>
              <a:chOff x="10042865" y="4703993"/>
              <a:chExt cx="107244" cy="278257"/>
            </a:xfrm>
            <a:solidFill>
              <a:srgbClr val="747373"/>
            </a:solidFill>
          </p:grpSpPr>
          <p:sp>
            <p:nvSpPr>
              <p:cNvPr id="243" name="Graphic 114">
                <a:extLst>
                  <a:ext uri="{FF2B5EF4-FFF2-40B4-BE49-F238E27FC236}">
                    <a16:creationId xmlns:a16="http://schemas.microsoft.com/office/drawing/2014/main" id="{1F94B5F1-90F5-3F43-A2A7-340ABF28D2FF}"/>
                  </a:ext>
                </a:extLst>
              </p:cNvPr>
              <p:cNvSpPr/>
              <p:nvPr/>
            </p:nvSpPr>
            <p:spPr>
              <a:xfrm>
                <a:off x="10042865"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4"/>
                    </a:cubicBezTo>
                    <a:cubicBezTo>
                      <a:pt x="107263" y="76215"/>
                      <a:pt x="107263" y="54186"/>
                      <a:pt x="107189" y="32231"/>
                    </a:cubicBezTo>
                    <a:cubicBezTo>
                      <a:pt x="107337" y="14489"/>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4" name="Graphic 114">
                <a:extLst>
                  <a:ext uri="{FF2B5EF4-FFF2-40B4-BE49-F238E27FC236}">
                    <a16:creationId xmlns:a16="http://schemas.microsoft.com/office/drawing/2014/main" id="{FD6082BB-BFD6-3948-84D0-CBF07C49FD64}"/>
                  </a:ext>
                </a:extLst>
              </p:cNvPr>
              <p:cNvSpPr/>
              <p:nvPr/>
            </p:nvSpPr>
            <p:spPr>
              <a:xfrm>
                <a:off x="10074505" y="4703993"/>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28" name="Graphic 114">
              <a:extLst>
                <a:ext uri="{FF2B5EF4-FFF2-40B4-BE49-F238E27FC236}">
                  <a16:creationId xmlns:a16="http://schemas.microsoft.com/office/drawing/2014/main" id="{90CE7B0C-3685-6047-BAB9-72B7007C474E}"/>
                </a:ext>
              </a:extLst>
            </p:cNvPr>
            <p:cNvGrpSpPr/>
            <p:nvPr/>
          </p:nvGrpSpPr>
          <p:grpSpPr>
            <a:xfrm>
              <a:off x="9560869" y="5019943"/>
              <a:ext cx="125994" cy="278102"/>
              <a:chOff x="9560869" y="5019943"/>
              <a:chExt cx="125994" cy="278102"/>
            </a:xfrm>
            <a:solidFill>
              <a:srgbClr val="747373"/>
            </a:solidFill>
          </p:grpSpPr>
          <p:sp>
            <p:nvSpPr>
              <p:cNvPr id="241" name="Graphic 114">
                <a:extLst>
                  <a:ext uri="{FF2B5EF4-FFF2-40B4-BE49-F238E27FC236}">
                    <a16:creationId xmlns:a16="http://schemas.microsoft.com/office/drawing/2014/main" id="{41443329-1BD8-4D4E-8793-76F4756D149B}"/>
                  </a:ext>
                </a:extLst>
              </p:cNvPr>
              <p:cNvSpPr/>
              <p:nvPr/>
            </p:nvSpPr>
            <p:spPr>
              <a:xfrm>
                <a:off x="9560869"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42" name="Graphic 114">
                <a:extLst>
                  <a:ext uri="{FF2B5EF4-FFF2-40B4-BE49-F238E27FC236}">
                    <a16:creationId xmlns:a16="http://schemas.microsoft.com/office/drawing/2014/main" id="{13DCF0C4-8BF0-3243-B0A3-6FDE89A6D31D}"/>
                  </a:ext>
                </a:extLst>
              </p:cNvPr>
              <p:cNvSpPr/>
              <p:nvPr/>
            </p:nvSpPr>
            <p:spPr>
              <a:xfrm>
                <a:off x="9601837"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29" name="Graphic 114">
              <a:extLst>
                <a:ext uri="{FF2B5EF4-FFF2-40B4-BE49-F238E27FC236}">
                  <a16:creationId xmlns:a16="http://schemas.microsoft.com/office/drawing/2014/main" id="{166F83B3-AA33-094C-AD74-3F81F3A3BEB7}"/>
                </a:ext>
              </a:extLst>
            </p:cNvPr>
            <p:cNvGrpSpPr/>
            <p:nvPr/>
          </p:nvGrpSpPr>
          <p:grpSpPr>
            <a:xfrm>
              <a:off x="9412888" y="5018760"/>
              <a:ext cx="107244" cy="278183"/>
              <a:chOff x="9412888" y="5018760"/>
              <a:chExt cx="107244" cy="278183"/>
            </a:xfrm>
            <a:solidFill>
              <a:srgbClr val="747373"/>
            </a:solidFill>
          </p:grpSpPr>
          <p:sp>
            <p:nvSpPr>
              <p:cNvPr id="239" name="Graphic 114">
                <a:extLst>
                  <a:ext uri="{FF2B5EF4-FFF2-40B4-BE49-F238E27FC236}">
                    <a16:creationId xmlns:a16="http://schemas.microsoft.com/office/drawing/2014/main" id="{E811ADC5-D7E3-A84C-B58F-157D3673BD2E}"/>
                  </a:ext>
                </a:extLst>
              </p:cNvPr>
              <p:cNvSpPr/>
              <p:nvPr/>
            </p:nvSpPr>
            <p:spPr>
              <a:xfrm>
                <a:off x="9412888"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40" name="Graphic 114">
                <a:extLst>
                  <a:ext uri="{FF2B5EF4-FFF2-40B4-BE49-F238E27FC236}">
                    <a16:creationId xmlns:a16="http://schemas.microsoft.com/office/drawing/2014/main" id="{6CE86F3A-237A-3F4E-A1D3-A93C88DF0C9D}"/>
                  </a:ext>
                </a:extLst>
              </p:cNvPr>
              <p:cNvSpPr/>
              <p:nvPr/>
            </p:nvSpPr>
            <p:spPr>
              <a:xfrm>
                <a:off x="9444601" y="5018760"/>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30" name="Graphic 114">
              <a:extLst>
                <a:ext uri="{FF2B5EF4-FFF2-40B4-BE49-F238E27FC236}">
                  <a16:creationId xmlns:a16="http://schemas.microsoft.com/office/drawing/2014/main" id="{01E73350-0973-8441-84E7-C71DE086F069}"/>
                </a:ext>
              </a:extLst>
            </p:cNvPr>
            <p:cNvGrpSpPr/>
            <p:nvPr/>
          </p:nvGrpSpPr>
          <p:grpSpPr>
            <a:xfrm>
              <a:off x="9875857" y="5019943"/>
              <a:ext cx="125994" cy="278102"/>
              <a:chOff x="9875857" y="5019943"/>
              <a:chExt cx="125994" cy="278102"/>
            </a:xfrm>
            <a:solidFill>
              <a:srgbClr val="747373"/>
            </a:solidFill>
          </p:grpSpPr>
          <p:sp>
            <p:nvSpPr>
              <p:cNvPr id="237" name="Graphic 114">
                <a:extLst>
                  <a:ext uri="{FF2B5EF4-FFF2-40B4-BE49-F238E27FC236}">
                    <a16:creationId xmlns:a16="http://schemas.microsoft.com/office/drawing/2014/main" id="{3B508D20-4C9E-CE49-89DC-6D49D7E59E78}"/>
                  </a:ext>
                </a:extLst>
              </p:cNvPr>
              <p:cNvSpPr/>
              <p:nvPr/>
            </p:nvSpPr>
            <p:spPr>
              <a:xfrm>
                <a:off x="9875857"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38" name="Graphic 114">
                <a:extLst>
                  <a:ext uri="{FF2B5EF4-FFF2-40B4-BE49-F238E27FC236}">
                    <a16:creationId xmlns:a16="http://schemas.microsoft.com/office/drawing/2014/main" id="{3949D2FB-A955-B548-A930-46C71DCC2BFD}"/>
                  </a:ext>
                </a:extLst>
              </p:cNvPr>
              <p:cNvSpPr/>
              <p:nvPr/>
            </p:nvSpPr>
            <p:spPr>
              <a:xfrm>
                <a:off x="9916825"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31" name="Graphic 114">
              <a:extLst>
                <a:ext uri="{FF2B5EF4-FFF2-40B4-BE49-F238E27FC236}">
                  <a16:creationId xmlns:a16="http://schemas.microsoft.com/office/drawing/2014/main" id="{4C0C0B03-9A2C-1740-913E-ADF65738A78E}"/>
                </a:ext>
              </a:extLst>
            </p:cNvPr>
            <p:cNvGrpSpPr/>
            <p:nvPr/>
          </p:nvGrpSpPr>
          <p:grpSpPr>
            <a:xfrm>
              <a:off x="9727877" y="5018760"/>
              <a:ext cx="107244" cy="278183"/>
              <a:chOff x="9727877" y="5018760"/>
              <a:chExt cx="107244" cy="278183"/>
            </a:xfrm>
            <a:solidFill>
              <a:srgbClr val="747373"/>
            </a:solidFill>
          </p:grpSpPr>
          <p:sp>
            <p:nvSpPr>
              <p:cNvPr id="235" name="Graphic 114">
                <a:extLst>
                  <a:ext uri="{FF2B5EF4-FFF2-40B4-BE49-F238E27FC236}">
                    <a16:creationId xmlns:a16="http://schemas.microsoft.com/office/drawing/2014/main" id="{2AE4A75D-1E12-6640-9C03-2ACFFE5AE54C}"/>
                  </a:ext>
                </a:extLst>
              </p:cNvPr>
              <p:cNvSpPr/>
              <p:nvPr/>
            </p:nvSpPr>
            <p:spPr>
              <a:xfrm>
                <a:off x="9727877"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36" name="Graphic 114">
                <a:extLst>
                  <a:ext uri="{FF2B5EF4-FFF2-40B4-BE49-F238E27FC236}">
                    <a16:creationId xmlns:a16="http://schemas.microsoft.com/office/drawing/2014/main" id="{320A3466-7AC8-D944-94D0-C34A2EE4CEF2}"/>
                  </a:ext>
                </a:extLst>
              </p:cNvPr>
              <p:cNvSpPr/>
              <p:nvPr/>
            </p:nvSpPr>
            <p:spPr>
              <a:xfrm>
                <a:off x="9759516" y="5018760"/>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32" name="Graphic 114">
              <a:extLst>
                <a:ext uri="{FF2B5EF4-FFF2-40B4-BE49-F238E27FC236}">
                  <a16:creationId xmlns:a16="http://schemas.microsoft.com/office/drawing/2014/main" id="{66A67602-1D67-8E4A-B99A-529649E594F0}"/>
                </a:ext>
              </a:extLst>
            </p:cNvPr>
            <p:cNvGrpSpPr/>
            <p:nvPr/>
          </p:nvGrpSpPr>
          <p:grpSpPr>
            <a:xfrm>
              <a:off x="10042865" y="5018760"/>
              <a:ext cx="107244" cy="278183"/>
              <a:chOff x="10042865" y="5018760"/>
              <a:chExt cx="107244" cy="278183"/>
            </a:xfrm>
            <a:solidFill>
              <a:srgbClr val="747373"/>
            </a:solidFill>
          </p:grpSpPr>
          <p:sp>
            <p:nvSpPr>
              <p:cNvPr id="233" name="Graphic 114">
                <a:extLst>
                  <a:ext uri="{FF2B5EF4-FFF2-40B4-BE49-F238E27FC236}">
                    <a16:creationId xmlns:a16="http://schemas.microsoft.com/office/drawing/2014/main" id="{2290FE15-F3BD-FE48-9087-31358CAC88D1}"/>
                  </a:ext>
                </a:extLst>
              </p:cNvPr>
              <p:cNvSpPr/>
              <p:nvPr/>
            </p:nvSpPr>
            <p:spPr>
              <a:xfrm>
                <a:off x="10042865"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34" name="Graphic 114">
                <a:extLst>
                  <a:ext uri="{FF2B5EF4-FFF2-40B4-BE49-F238E27FC236}">
                    <a16:creationId xmlns:a16="http://schemas.microsoft.com/office/drawing/2014/main" id="{4FDEC2AF-414B-6246-884C-20AD0148D15C}"/>
                  </a:ext>
                </a:extLst>
              </p:cNvPr>
              <p:cNvSpPr/>
              <p:nvPr/>
            </p:nvSpPr>
            <p:spPr>
              <a:xfrm>
                <a:off x="10074505" y="5018760"/>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sp>
        <p:nvSpPr>
          <p:cNvPr id="9" name="Rechthoek 8">
            <a:extLst>
              <a:ext uri="{FF2B5EF4-FFF2-40B4-BE49-F238E27FC236}">
                <a16:creationId xmlns:a16="http://schemas.microsoft.com/office/drawing/2014/main" id="{497D6DF3-7AFE-F54A-B676-F6607F9636EE}"/>
              </a:ext>
            </a:extLst>
          </p:cNvPr>
          <p:cNvSpPr/>
          <p:nvPr/>
        </p:nvSpPr>
        <p:spPr>
          <a:xfrm>
            <a:off x="983182" y="900248"/>
            <a:ext cx="10140511" cy="338554"/>
          </a:xfrm>
          <a:prstGeom prst="rect">
            <a:avLst/>
          </a:prstGeom>
        </p:spPr>
        <p:txBody>
          <a:bodyPr wrap="square">
            <a:spAutoFit/>
          </a:bodyPr>
          <a:lstStyle/>
          <a:p>
            <a:pPr algn="l"/>
            <a:endParaRPr lang="nl-NL" sz="1600" dirty="0">
              <a:latin typeface="Verdana" panose="020B0604030504040204" pitchFamily="34" charset="0"/>
              <a:ea typeface="Verdana" panose="020B0604030504040204" pitchFamily="34" charset="0"/>
              <a:cs typeface="Verdana" panose="020B0604030504040204" pitchFamily="34" charset="0"/>
            </a:endParaRPr>
          </a:p>
        </p:txBody>
      </p:sp>
      <p:sp>
        <p:nvSpPr>
          <p:cNvPr id="202" name="Ovaal 201">
            <a:extLst>
              <a:ext uri="{FF2B5EF4-FFF2-40B4-BE49-F238E27FC236}">
                <a16:creationId xmlns:a16="http://schemas.microsoft.com/office/drawing/2014/main" id="{2D7CE857-687E-9546-B5A9-25BABC86B5C7}"/>
              </a:ext>
            </a:extLst>
          </p:cNvPr>
          <p:cNvSpPr/>
          <p:nvPr/>
        </p:nvSpPr>
        <p:spPr>
          <a:xfrm>
            <a:off x="7005918" y="3774068"/>
            <a:ext cx="506896" cy="35401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3" name="Ovaal 202">
            <a:extLst>
              <a:ext uri="{FF2B5EF4-FFF2-40B4-BE49-F238E27FC236}">
                <a16:creationId xmlns:a16="http://schemas.microsoft.com/office/drawing/2014/main" id="{8CC532C1-E38B-4541-93FE-C155071594A4}"/>
              </a:ext>
            </a:extLst>
          </p:cNvPr>
          <p:cNvSpPr/>
          <p:nvPr/>
        </p:nvSpPr>
        <p:spPr>
          <a:xfrm>
            <a:off x="6978611" y="5524214"/>
            <a:ext cx="506896" cy="3540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4" name="Ovaal 203">
            <a:extLst>
              <a:ext uri="{FF2B5EF4-FFF2-40B4-BE49-F238E27FC236}">
                <a16:creationId xmlns:a16="http://schemas.microsoft.com/office/drawing/2014/main" id="{308CD260-415E-174D-AE30-17AD5D3B5205}"/>
              </a:ext>
            </a:extLst>
          </p:cNvPr>
          <p:cNvSpPr/>
          <p:nvPr/>
        </p:nvSpPr>
        <p:spPr>
          <a:xfrm>
            <a:off x="7153746" y="4663889"/>
            <a:ext cx="506896" cy="3540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206" name="Ovaal 205">
            <a:extLst>
              <a:ext uri="{FF2B5EF4-FFF2-40B4-BE49-F238E27FC236}">
                <a16:creationId xmlns:a16="http://schemas.microsoft.com/office/drawing/2014/main" id="{90AC69FD-A895-3C48-930E-CFDCCE18F6E6}"/>
              </a:ext>
            </a:extLst>
          </p:cNvPr>
          <p:cNvSpPr/>
          <p:nvPr/>
        </p:nvSpPr>
        <p:spPr>
          <a:xfrm>
            <a:off x="4954839" y="4139253"/>
            <a:ext cx="661996" cy="45643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200" b="1" dirty="0">
                <a:latin typeface="VAG Rounded Std Thin" panose="020F0402020204020204" pitchFamily="34" charset="0"/>
              </a:rPr>
              <a:t>Broker</a:t>
            </a:r>
          </a:p>
        </p:txBody>
      </p:sp>
      <p:cxnSp>
        <p:nvCxnSpPr>
          <p:cNvPr id="209" name="Rechte verbindingslijn met pijl 208">
            <a:extLst>
              <a:ext uri="{FF2B5EF4-FFF2-40B4-BE49-F238E27FC236}">
                <a16:creationId xmlns:a16="http://schemas.microsoft.com/office/drawing/2014/main" id="{7975B5AD-CCE6-D243-A544-94FCDBC211E2}"/>
              </a:ext>
            </a:extLst>
          </p:cNvPr>
          <p:cNvCxnSpPr>
            <a:cxnSpLocks/>
            <a:stCxn id="148" idx="29"/>
            <a:endCxn id="47" idx="1"/>
          </p:cNvCxnSpPr>
          <p:nvPr/>
        </p:nvCxnSpPr>
        <p:spPr>
          <a:xfrm>
            <a:off x="1578295" y="4253730"/>
            <a:ext cx="1393878" cy="120569"/>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0" name="Rechte verbindingslijn met pijl 209">
            <a:extLst>
              <a:ext uri="{FF2B5EF4-FFF2-40B4-BE49-F238E27FC236}">
                <a16:creationId xmlns:a16="http://schemas.microsoft.com/office/drawing/2014/main" id="{E122D107-D092-1147-8660-06564598F84C}"/>
              </a:ext>
            </a:extLst>
          </p:cNvPr>
          <p:cNvCxnSpPr>
            <a:cxnSpLocks/>
            <a:stCxn id="118" idx="35"/>
          </p:cNvCxnSpPr>
          <p:nvPr/>
        </p:nvCxnSpPr>
        <p:spPr>
          <a:xfrm>
            <a:off x="1114867" y="3605198"/>
            <a:ext cx="1875030" cy="117280"/>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2" name="Rechte verbindingslijn met pijl 211">
            <a:extLst>
              <a:ext uri="{FF2B5EF4-FFF2-40B4-BE49-F238E27FC236}">
                <a16:creationId xmlns:a16="http://schemas.microsoft.com/office/drawing/2014/main" id="{FC27D48C-B0AB-F44A-B2BB-8ED599FD824F}"/>
              </a:ext>
            </a:extLst>
          </p:cNvPr>
          <p:cNvCxnSpPr>
            <a:cxnSpLocks/>
          </p:cNvCxnSpPr>
          <p:nvPr/>
        </p:nvCxnSpPr>
        <p:spPr>
          <a:xfrm>
            <a:off x="1425014" y="3864179"/>
            <a:ext cx="1545378" cy="106966"/>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13" name="Rechte verbindingslijn met pijl 212">
            <a:extLst>
              <a:ext uri="{FF2B5EF4-FFF2-40B4-BE49-F238E27FC236}">
                <a16:creationId xmlns:a16="http://schemas.microsoft.com/office/drawing/2014/main" id="{5FFD53EA-B42C-5842-B834-BC969B323EB5}"/>
              </a:ext>
            </a:extLst>
          </p:cNvPr>
          <p:cNvCxnSpPr>
            <a:cxnSpLocks/>
            <a:stCxn id="148" idx="19"/>
          </p:cNvCxnSpPr>
          <p:nvPr/>
        </p:nvCxnSpPr>
        <p:spPr>
          <a:xfrm>
            <a:off x="1553308" y="4286256"/>
            <a:ext cx="1417084" cy="502266"/>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cxnSp>
        <p:nvCxnSpPr>
          <p:cNvPr id="264" name="Rechte verbindingslijn met pijl 263">
            <a:extLst>
              <a:ext uri="{FF2B5EF4-FFF2-40B4-BE49-F238E27FC236}">
                <a16:creationId xmlns:a16="http://schemas.microsoft.com/office/drawing/2014/main" id="{2CD06743-D18B-E445-AE95-3DEA11D45025}"/>
              </a:ext>
            </a:extLst>
          </p:cNvPr>
          <p:cNvCxnSpPr>
            <a:cxnSpLocks/>
            <a:stCxn id="206" idx="6"/>
            <a:endCxn id="202" idx="2"/>
          </p:cNvCxnSpPr>
          <p:nvPr/>
        </p:nvCxnSpPr>
        <p:spPr>
          <a:xfrm flipV="1">
            <a:off x="5616835" y="3951075"/>
            <a:ext cx="1389083" cy="416393"/>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Rechte verbindingslijn met pijl 264">
            <a:extLst>
              <a:ext uri="{FF2B5EF4-FFF2-40B4-BE49-F238E27FC236}">
                <a16:creationId xmlns:a16="http://schemas.microsoft.com/office/drawing/2014/main" id="{8A3A98D2-026B-EF4E-AC3E-3EAF3AEEC36E}"/>
              </a:ext>
            </a:extLst>
          </p:cNvPr>
          <p:cNvCxnSpPr>
            <a:cxnSpLocks/>
            <a:stCxn id="206" idx="6"/>
            <a:endCxn id="80" idx="2"/>
          </p:cNvCxnSpPr>
          <p:nvPr/>
        </p:nvCxnSpPr>
        <p:spPr>
          <a:xfrm>
            <a:off x="5616835" y="4367468"/>
            <a:ext cx="1389083" cy="53660"/>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Rechte verbindingslijn met pijl 265">
            <a:extLst>
              <a:ext uri="{FF2B5EF4-FFF2-40B4-BE49-F238E27FC236}">
                <a16:creationId xmlns:a16="http://schemas.microsoft.com/office/drawing/2014/main" id="{C768F53D-BA65-324F-BDCA-04AA34847C84}"/>
              </a:ext>
            </a:extLst>
          </p:cNvPr>
          <p:cNvCxnSpPr>
            <a:cxnSpLocks/>
            <a:stCxn id="206" idx="6"/>
            <a:endCxn id="203" idx="2"/>
          </p:cNvCxnSpPr>
          <p:nvPr/>
        </p:nvCxnSpPr>
        <p:spPr>
          <a:xfrm>
            <a:off x="5616835" y="4367468"/>
            <a:ext cx="1361776" cy="1333753"/>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Rechte verbindingslijn met pijl 268">
            <a:extLst>
              <a:ext uri="{FF2B5EF4-FFF2-40B4-BE49-F238E27FC236}">
                <a16:creationId xmlns:a16="http://schemas.microsoft.com/office/drawing/2014/main" id="{E2BBFF37-DDDD-B048-94C6-EB01DB888E95}"/>
              </a:ext>
            </a:extLst>
          </p:cNvPr>
          <p:cNvCxnSpPr>
            <a:cxnSpLocks/>
            <a:stCxn id="202" idx="6"/>
          </p:cNvCxnSpPr>
          <p:nvPr/>
        </p:nvCxnSpPr>
        <p:spPr>
          <a:xfrm flipV="1">
            <a:off x="7512814" y="3875134"/>
            <a:ext cx="1491262" cy="75941"/>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Rechte verbindingslijn met pijl 269">
            <a:extLst>
              <a:ext uri="{FF2B5EF4-FFF2-40B4-BE49-F238E27FC236}">
                <a16:creationId xmlns:a16="http://schemas.microsoft.com/office/drawing/2014/main" id="{675AE690-86E3-4943-AFFF-A241ABD77D23}"/>
              </a:ext>
            </a:extLst>
          </p:cNvPr>
          <p:cNvCxnSpPr>
            <a:cxnSpLocks/>
            <a:stCxn id="204" idx="6"/>
          </p:cNvCxnSpPr>
          <p:nvPr/>
        </p:nvCxnSpPr>
        <p:spPr>
          <a:xfrm>
            <a:off x="7660642" y="4840896"/>
            <a:ext cx="1306006" cy="3115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Rechte verbindingslijn met pijl 270">
            <a:extLst>
              <a:ext uri="{FF2B5EF4-FFF2-40B4-BE49-F238E27FC236}">
                <a16:creationId xmlns:a16="http://schemas.microsoft.com/office/drawing/2014/main" id="{D97F676F-DADC-C54D-A81D-0AE904335F2D}"/>
              </a:ext>
            </a:extLst>
          </p:cNvPr>
          <p:cNvCxnSpPr>
            <a:cxnSpLocks/>
            <a:stCxn id="203" idx="6"/>
          </p:cNvCxnSpPr>
          <p:nvPr/>
        </p:nvCxnSpPr>
        <p:spPr>
          <a:xfrm flipV="1">
            <a:off x="7485507" y="5350713"/>
            <a:ext cx="1553535" cy="350508"/>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2" name="Graphic 114">
            <a:extLst>
              <a:ext uri="{FF2B5EF4-FFF2-40B4-BE49-F238E27FC236}">
                <a16:creationId xmlns:a16="http://schemas.microsoft.com/office/drawing/2014/main" id="{D29D37C4-BFF7-5E42-892C-79FE1F6CB43F}"/>
              </a:ext>
            </a:extLst>
          </p:cNvPr>
          <p:cNvGrpSpPr/>
          <p:nvPr/>
        </p:nvGrpSpPr>
        <p:grpSpPr>
          <a:xfrm>
            <a:off x="9107365" y="4490518"/>
            <a:ext cx="737221" cy="920794"/>
            <a:chOff x="9412888" y="4377251"/>
            <a:chExt cx="737221" cy="920794"/>
          </a:xfrm>
          <a:solidFill>
            <a:srgbClr val="747373"/>
          </a:solidFill>
        </p:grpSpPr>
        <p:grpSp>
          <p:nvGrpSpPr>
            <p:cNvPr id="273" name="Graphic 114">
              <a:extLst>
                <a:ext uri="{FF2B5EF4-FFF2-40B4-BE49-F238E27FC236}">
                  <a16:creationId xmlns:a16="http://schemas.microsoft.com/office/drawing/2014/main" id="{AAC17051-BF6D-F44B-BDA6-C96EBFB6BC35}"/>
                </a:ext>
              </a:extLst>
            </p:cNvPr>
            <p:cNvGrpSpPr/>
            <p:nvPr/>
          </p:nvGrpSpPr>
          <p:grpSpPr>
            <a:xfrm>
              <a:off x="9560869" y="4378507"/>
              <a:ext cx="125994" cy="278028"/>
              <a:chOff x="9560869" y="4378507"/>
              <a:chExt cx="125994" cy="278028"/>
            </a:xfrm>
            <a:solidFill>
              <a:srgbClr val="747373"/>
            </a:solidFill>
          </p:grpSpPr>
          <p:sp>
            <p:nvSpPr>
              <p:cNvPr id="316" name="Graphic 114">
                <a:extLst>
                  <a:ext uri="{FF2B5EF4-FFF2-40B4-BE49-F238E27FC236}">
                    <a16:creationId xmlns:a16="http://schemas.microsoft.com/office/drawing/2014/main" id="{3A6F83AF-3E45-FC47-AEB7-F823F71E2B01}"/>
                  </a:ext>
                </a:extLst>
              </p:cNvPr>
              <p:cNvSpPr/>
              <p:nvPr/>
            </p:nvSpPr>
            <p:spPr>
              <a:xfrm>
                <a:off x="9560869"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17" name="Graphic 114">
                <a:extLst>
                  <a:ext uri="{FF2B5EF4-FFF2-40B4-BE49-F238E27FC236}">
                    <a16:creationId xmlns:a16="http://schemas.microsoft.com/office/drawing/2014/main" id="{3F10F913-2074-F042-BB1F-07610C719D62}"/>
                  </a:ext>
                </a:extLst>
              </p:cNvPr>
              <p:cNvSpPr/>
              <p:nvPr/>
            </p:nvSpPr>
            <p:spPr>
              <a:xfrm>
                <a:off x="9601837"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4" name="Graphic 114">
              <a:extLst>
                <a:ext uri="{FF2B5EF4-FFF2-40B4-BE49-F238E27FC236}">
                  <a16:creationId xmlns:a16="http://schemas.microsoft.com/office/drawing/2014/main" id="{D46000E2-87C1-5242-A7E2-224D1129388D}"/>
                </a:ext>
              </a:extLst>
            </p:cNvPr>
            <p:cNvGrpSpPr/>
            <p:nvPr/>
          </p:nvGrpSpPr>
          <p:grpSpPr>
            <a:xfrm>
              <a:off x="9412888" y="4377251"/>
              <a:ext cx="107244" cy="278257"/>
              <a:chOff x="9412888" y="4377251"/>
              <a:chExt cx="107244" cy="278257"/>
            </a:xfrm>
            <a:solidFill>
              <a:srgbClr val="747373"/>
            </a:solidFill>
          </p:grpSpPr>
          <p:sp>
            <p:nvSpPr>
              <p:cNvPr id="314" name="Graphic 114">
                <a:extLst>
                  <a:ext uri="{FF2B5EF4-FFF2-40B4-BE49-F238E27FC236}">
                    <a16:creationId xmlns:a16="http://schemas.microsoft.com/office/drawing/2014/main" id="{5B71E8B0-97FA-5C4B-8C27-F4AE94F3D4C6}"/>
                  </a:ext>
                </a:extLst>
              </p:cNvPr>
              <p:cNvSpPr/>
              <p:nvPr/>
            </p:nvSpPr>
            <p:spPr>
              <a:xfrm>
                <a:off x="9412888"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15" name="Graphic 114">
                <a:extLst>
                  <a:ext uri="{FF2B5EF4-FFF2-40B4-BE49-F238E27FC236}">
                    <a16:creationId xmlns:a16="http://schemas.microsoft.com/office/drawing/2014/main" id="{51527234-8ABF-5C4D-A60D-B42772EB88D7}"/>
                  </a:ext>
                </a:extLst>
              </p:cNvPr>
              <p:cNvSpPr/>
              <p:nvPr/>
            </p:nvSpPr>
            <p:spPr>
              <a:xfrm>
                <a:off x="9444601" y="4377251"/>
                <a:ext cx="44058" cy="44058"/>
              </a:xfrm>
              <a:custGeom>
                <a:avLst/>
                <a:gdLst>
                  <a:gd name="connsiteX0" fmla="*/ 44059 w 44058"/>
                  <a:gd name="connsiteY0" fmla="*/ 22029 h 44058"/>
                  <a:gd name="connsiteX1" fmla="*/ 22030 w 44058"/>
                  <a:gd name="connsiteY1" fmla="*/ 44059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9"/>
                      <a:pt x="22030" y="44059"/>
                    </a:cubicBezTo>
                    <a:cubicBezTo>
                      <a:pt x="9864" y="44059"/>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5" name="Graphic 114">
              <a:extLst>
                <a:ext uri="{FF2B5EF4-FFF2-40B4-BE49-F238E27FC236}">
                  <a16:creationId xmlns:a16="http://schemas.microsoft.com/office/drawing/2014/main" id="{0C2BA555-9AE6-384A-8F14-E5C63E4AE204}"/>
                </a:ext>
              </a:extLst>
            </p:cNvPr>
            <p:cNvGrpSpPr/>
            <p:nvPr/>
          </p:nvGrpSpPr>
          <p:grpSpPr>
            <a:xfrm>
              <a:off x="9875857" y="4378507"/>
              <a:ext cx="125994" cy="278028"/>
              <a:chOff x="9875857" y="4378507"/>
              <a:chExt cx="125994" cy="278028"/>
            </a:xfrm>
            <a:solidFill>
              <a:srgbClr val="747373"/>
            </a:solidFill>
          </p:grpSpPr>
          <p:sp>
            <p:nvSpPr>
              <p:cNvPr id="312" name="Graphic 114">
                <a:extLst>
                  <a:ext uri="{FF2B5EF4-FFF2-40B4-BE49-F238E27FC236}">
                    <a16:creationId xmlns:a16="http://schemas.microsoft.com/office/drawing/2014/main" id="{DA79F54C-4818-4442-AFE5-7691AA5EB728}"/>
                  </a:ext>
                </a:extLst>
              </p:cNvPr>
              <p:cNvSpPr/>
              <p:nvPr/>
            </p:nvSpPr>
            <p:spPr>
              <a:xfrm>
                <a:off x="9875857" y="442892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13" name="Graphic 114">
                <a:extLst>
                  <a:ext uri="{FF2B5EF4-FFF2-40B4-BE49-F238E27FC236}">
                    <a16:creationId xmlns:a16="http://schemas.microsoft.com/office/drawing/2014/main" id="{67D9D8F8-EFD4-294B-8B12-EB9E60F748C9}"/>
                  </a:ext>
                </a:extLst>
              </p:cNvPr>
              <p:cNvSpPr/>
              <p:nvPr/>
            </p:nvSpPr>
            <p:spPr>
              <a:xfrm>
                <a:off x="9916825" y="4378507"/>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6" name="Graphic 114">
              <a:extLst>
                <a:ext uri="{FF2B5EF4-FFF2-40B4-BE49-F238E27FC236}">
                  <a16:creationId xmlns:a16="http://schemas.microsoft.com/office/drawing/2014/main" id="{C645564E-C8E8-1C41-B268-CDD5AED736D7}"/>
                </a:ext>
              </a:extLst>
            </p:cNvPr>
            <p:cNvGrpSpPr/>
            <p:nvPr/>
          </p:nvGrpSpPr>
          <p:grpSpPr>
            <a:xfrm>
              <a:off x="9727877" y="4377251"/>
              <a:ext cx="107244" cy="278257"/>
              <a:chOff x="9727877" y="4377251"/>
              <a:chExt cx="107244" cy="278257"/>
            </a:xfrm>
            <a:solidFill>
              <a:srgbClr val="747373"/>
            </a:solidFill>
          </p:grpSpPr>
          <p:sp>
            <p:nvSpPr>
              <p:cNvPr id="310" name="Graphic 114">
                <a:extLst>
                  <a:ext uri="{FF2B5EF4-FFF2-40B4-BE49-F238E27FC236}">
                    <a16:creationId xmlns:a16="http://schemas.microsoft.com/office/drawing/2014/main" id="{1CBD840A-ED76-AE45-B949-DA424B057056}"/>
                  </a:ext>
                </a:extLst>
              </p:cNvPr>
              <p:cNvSpPr/>
              <p:nvPr/>
            </p:nvSpPr>
            <p:spPr>
              <a:xfrm>
                <a:off x="9727877"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6"/>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11" name="Graphic 114">
                <a:extLst>
                  <a:ext uri="{FF2B5EF4-FFF2-40B4-BE49-F238E27FC236}">
                    <a16:creationId xmlns:a16="http://schemas.microsoft.com/office/drawing/2014/main" id="{F7B8945B-2B19-EC4B-A3AA-5E05F0CF8087}"/>
                  </a:ext>
                </a:extLst>
              </p:cNvPr>
              <p:cNvSpPr/>
              <p:nvPr/>
            </p:nvSpPr>
            <p:spPr>
              <a:xfrm>
                <a:off x="9759516" y="4377251"/>
                <a:ext cx="44058" cy="44058"/>
              </a:xfrm>
              <a:custGeom>
                <a:avLst/>
                <a:gdLst>
                  <a:gd name="connsiteX0" fmla="*/ 44059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9"/>
                      <a:pt x="22029" y="44059"/>
                    </a:cubicBezTo>
                    <a:cubicBezTo>
                      <a:pt x="9863" y="44059"/>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7" name="Graphic 114">
              <a:extLst>
                <a:ext uri="{FF2B5EF4-FFF2-40B4-BE49-F238E27FC236}">
                  <a16:creationId xmlns:a16="http://schemas.microsoft.com/office/drawing/2014/main" id="{89D4705C-D4C7-5C4B-8384-53EEF1FB2D5E}"/>
                </a:ext>
              </a:extLst>
            </p:cNvPr>
            <p:cNvGrpSpPr/>
            <p:nvPr/>
          </p:nvGrpSpPr>
          <p:grpSpPr>
            <a:xfrm>
              <a:off x="10042865" y="4377251"/>
              <a:ext cx="107244" cy="278257"/>
              <a:chOff x="10042865" y="4377251"/>
              <a:chExt cx="107244" cy="278257"/>
            </a:xfrm>
            <a:solidFill>
              <a:srgbClr val="747373"/>
            </a:solidFill>
          </p:grpSpPr>
          <p:sp>
            <p:nvSpPr>
              <p:cNvPr id="308" name="Graphic 114">
                <a:extLst>
                  <a:ext uri="{FF2B5EF4-FFF2-40B4-BE49-F238E27FC236}">
                    <a16:creationId xmlns:a16="http://schemas.microsoft.com/office/drawing/2014/main" id="{EEE678EF-55CF-504C-BE46-2D47B51A0542}"/>
                  </a:ext>
                </a:extLst>
              </p:cNvPr>
              <p:cNvSpPr/>
              <p:nvPr/>
            </p:nvSpPr>
            <p:spPr>
              <a:xfrm>
                <a:off x="10042865" y="4426779"/>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8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8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6"/>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8"/>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8"/>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6"/>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9" name="Graphic 114">
                <a:extLst>
                  <a:ext uri="{FF2B5EF4-FFF2-40B4-BE49-F238E27FC236}">
                    <a16:creationId xmlns:a16="http://schemas.microsoft.com/office/drawing/2014/main" id="{716D2298-CD54-6249-8567-A2B19D9EC294}"/>
                  </a:ext>
                </a:extLst>
              </p:cNvPr>
              <p:cNvSpPr/>
              <p:nvPr/>
            </p:nvSpPr>
            <p:spPr>
              <a:xfrm>
                <a:off x="10074505" y="4377251"/>
                <a:ext cx="44058" cy="44058"/>
              </a:xfrm>
              <a:custGeom>
                <a:avLst/>
                <a:gdLst>
                  <a:gd name="connsiteX0" fmla="*/ 44058 w 44058"/>
                  <a:gd name="connsiteY0" fmla="*/ 22029 h 44058"/>
                  <a:gd name="connsiteX1" fmla="*/ 22029 w 44058"/>
                  <a:gd name="connsiteY1" fmla="*/ 44059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9"/>
                      <a:pt x="22029" y="44059"/>
                    </a:cubicBezTo>
                    <a:cubicBezTo>
                      <a:pt x="9863" y="44059"/>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78" name="Graphic 114">
              <a:extLst>
                <a:ext uri="{FF2B5EF4-FFF2-40B4-BE49-F238E27FC236}">
                  <a16:creationId xmlns:a16="http://schemas.microsoft.com/office/drawing/2014/main" id="{2DEF3210-0CCB-0A44-AE5A-7799F529763F}"/>
                </a:ext>
              </a:extLst>
            </p:cNvPr>
            <p:cNvGrpSpPr/>
            <p:nvPr/>
          </p:nvGrpSpPr>
          <p:grpSpPr>
            <a:xfrm>
              <a:off x="9560869" y="4705250"/>
              <a:ext cx="125994" cy="278028"/>
              <a:chOff x="9560869" y="4705250"/>
              <a:chExt cx="125994" cy="278028"/>
            </a:xfrm>
            <a:solidFill>
              <a:srgbClr val="747373"/>
            </a:solidFill>
          </p:grpSpPr>
          <p:sp>
            <p:nvSpPr>
              <p:cNvPr id="306" name="Graphic 114">
                <a:extLst>
                  <a:ext uri="{FF2B5EF4-FFF2-40B4-BE49-F238E27FC236}">
                    <a16:creationId xmlns:a16="http://schemas.microsoft.com/office/drawing/2014/main" id="{0AB55736-F0A4-6448-BBF2-1D65ADE31DA3}"/>
                  </a:ext>
                </a:extLst>
              </p:cNvPr>
              <p:cNvSpPr/>
              <p:nvPr/>
            </p:nvSpPr>
            <p:spPr>
              <a:xfrm>
                <a:off x="9560869"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07" name="Graphic 114">
                <a:extLst>
                  <a:ext uri="{FF2B5EF4-FFF2-40B4-BE49-F238E27FC236}">
                    <a16:creationId xmlns:a16="http://schemas.microsoft.com/office/drawing/2014/main" id="{E53FC488-29BE-AA49-AD13-2D2C3C701D3C}"/>
                  </a:ext>
                </a:extLst>
              </p:cNvPr>
              <p:cNvSpPr/>
              <p:nvPr/>
            </p:nvSpPr>
            <p:spPr>
              <a:xfrm>
                <a:off x="9601837"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79" name="Graphic 114">
              <a:extLst>
                <a:ext uri="{FF2B5EF4-FFF2-40B4-BE49-F238E27FC236}">
                  <a16:creationId xmlns:a16="http://schemas.microsoft.com/office/drawing/2014/main" id="{4F1C9A00-5F47-A04D-9663-EE1323A0A127}"/>
                </a:ext>
              </a:extLst>
            </p:cNvPr>
            <p:cNvGrpSpPr/>
            <p:nvPr/>
          </p:nvGrpSpPr>
          <p:grpSpPr>
            <a:xfrm>
              <a:off x="9412888" y="4703993"/>
              <a:ext cx="107244" cy="278257"/>
              <a:chOff x="9412888" y="4703993"/>
              <a:chExt cx="107244" cy="278257"/>
            </a:xfrm>
            <a:solidFill>
              <a:srgbClr val="747373"/>
            </a:solidFill>
          </p:grpSpPr>
          <p:sp>
            <p:nvSpPr>
              <p:cNvPr id="304" name="Graphic 114">
                <a:extLst>
                  <a:ext uri="{FF2B5EF4-FFF2-40B4-BE49-F238E27FC236}">
                    <a16:creationId xmlns:a16="http://schemas.microsoft.com/office/drawing/2014/main" id="{50DF9E56-7FBC-3149-8C23-F8A5C0645AD1}"/>
                  </a:ext>
                </a:extLst>
              </p:cNvPr>
              <p:cNvSpPr/>
              <p:nvPr/>
            </p:nvSpPr>
            <p:spPr>
              <a:xfrm>
                <a:off x="9412888"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49" y="74"/>
                      <a:pt x="35705" y="591"/>
                      <a:pt x="26760" y="1331"/>
                    </a:cubicBezTo>
                    <a:cubicBezTo>
                      <a:pt x="9018" y="2957"/>
                      <a:pt x="0" y="14563"/>
                      <a:pt x="0" y="32231"/>
                    </a:cubicBezTo>
                    <a:cubicBezTo>
                      <a:pt x="0" y="54260"/>
                      <a:pt x="0" y="76289"/>
                      <a:pt x="0" y="98244"/>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411"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5" name="Graphic 114">
                <a:extLst>
                  <a:ext uri="{FF2B5EF4-FFF2-40B4-BE49-F238E27FC236}">
                    <a16:creationId xmlns:a16="http://schemas.microsoft.com/office/drawing/2014/main" id="{9DE1DA2A-52CB-8F49-B270-2A9C36551D09}"/>
                  </a:ext>
                </a:extLst>
              </p:cNvPr>
              <p:cNvSpPr/>
              <p:nvPr/>
            </p:nvSpPr>
            <p:spPr>
              <a:xfrm>
                <a:off x="9444601" y="4703993"/>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0" name="Graphic 114">
              <a:extLst>
                <a:ext uri="{FF2B5EF4-FFF2-40B4-BE49-F238E27FC236}">
                  <a16:creationId xmlns:a16="http://schemas.microsoft.com/office/drawing/2014/main" id="{B2011E1F-B6A3-AD4B-9FB6-288E8D4AB72A}"/>
                </a:ext>
              </a:extLst>
            </p:cNvPr>
            <p:cNvGrpSpPr/>
            <p:nvPr/>
          </p:nvGrpSpPr>
          <p:grpSpPr>
            <a:xfrm>
              <a:off x="9875857" y="4705250"/>
              <a:ext cx="125994" cy="278028"/>
              <a:chOff x="9875857" y="4705250"/>
              <a:chExt cx="125994" cy="278028"/>
            </a:xfrm>
            <a:solidFill>
              <a:srgbClr val="747373"/>
            </a:solidFill>
          </p:grpSpPr>
          <p:sp>
            <p:nvSpPr>
              <p:cNvPr id="302" name="Graphic 114">
                <a:extLst>
                  <a:ext uri="{FF2B5EF4-FFF2-40B4-BE49-F238E27FC236}">
                    <a16:creationId xmlns:a16="http://schemas.microsoft.com/office/drawing/2014/main" id="{EF087F26-08E8-2F4D-A120-FD6DC471241C}"/>
                  </a:ext>
                </a:extLst>
              </p:cNvPr>
              <p:cNvSpPr/>
              <p:nvPr/>
            </p:nvSpPr>
            <p:spPr>
              <a:xfrm>
                <a:off x="9875857" y="4755666"/>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1"/>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909"/>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303" name="Graphic 114">
                <a:extLst>
                  <a:ext uri="{FF2B5EF4-FFF2-40B4-BE49-F238E27FC236}">
                    <a16:creationId xmlns:a16="http://schemas.microsoft.com/office/drawing/2014/main" id="{BAA54C19-4D77-2B4E-9C8F-6889DA5280D4}"/>
                  </a:ext>
                </a:extLst>
              </p:cNvPr>
              <p:cNvSpPr/>
              <p:nvPr/>
            </p:nvSpPr>
            <p:spPr>
              <a:xfrm>
                <a:off x="9916825" y="4705250"/>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1" name="Graphic 114">
              <a:extLst>
                <a:ext uri="{FF2B5EF4-FFF2-40B4-BE49-F238E27FC236}">
                  <a16:creationId xmlns:a16="http://schemas.microsoft.com/office/drawing/2014/main" id="{59809B04-BF83-7340-889D-BCDA1E242967}"/>
                </a:ext>
              </a:extLst>
            </p:cNvPr>
            <p:cNvGrpSpPr/>
            <p:nvPr/>
          </p:nvGrpSpPr>
          <p:grpSpPr>
            <a:xfrm>
              <a:off x="9727877" y="4703993"/>
              <a:ext cx="107244" cy="278257"/>
              <a:chOff x="9727877" y="4703993"/>
              <a:chExt cx="107244" cy="278257"/>
            </a:xfrm>
            <a:solidFill>
              <a:srgbClr val="747373"/>
            </a:solidFill>
          </p:grpSpPr>
          <p:sp>
            <p:nvSpPr>
              <p:cNvPr id="300" name="Graphic 114">
                <a:extLst>
                  <a:ext uri="{FF2B5EF4-FFF2-40B4-BE49-F238E27FC236}">
                    <a16:creationId xmlns:a16="http://schemas.microsoft.com/office/drawing/2014/main" id="{B335C024-D865-5545-8D03-BAE9C510D2DE}"/>
                  </a:ext>
                </a:extLst>
              </p:cNvPr>
              <p:cNvSpPr/>
              <p:nvPr/>
            </p:nvSpPr>
            <p:spPr>
              <a:xfrm>
                <a:off x="9727877"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2"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4"/>
                    </a:cubicBezTo>
                    <a:cubicBezTo>
                      <a:pt x="107263" y="76215"/>
                      <a:pt x="107263" y="54186"/>
                      <a:pt x="107189" y="32231"/>
                    </a:cubicBezTo>
                    <a:cubicBezTo>
                      <a:pt x="107337" y="14489"/>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301" name="Graphic 114">
                <a:extLst>
                  <a:ext uri="{FF2B5EF4-FFF2-40B4-BE49-F238E27FC236}">
                    <a16:creationId xmlns:a16="http://schemas.microsoft.com/office/drawing/2014/main" id="{6EA42188-7C06-5B4F-B3A9-37509BBA43D4}"/>
                  </a:ext>
                </a:extLst>
              </p:cNvPr>
              <p:cNvSpPr/>
              <p:nvPr/>
            </p:nvSpPr>
            <p:spPr>
              <a:xfrm>
                <a:off x="9759516" y="4703993"/>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2" name="Graphic 114">
              <a:extLst>
                <a:ext uri="{FF2B5EF4-FFF2-40B4-BE49-F238E27FC236}">
                  <a16:creationId xmlns:a16="http://schemas.microsoft.com/office/drawing/2014/main" id="{E8EC2035-FB5F-4E49-A04B-E16DE76B8115}"/>
                </a:ext>
              </a:extLst>
            </p:cNvPr>
            <p:cNvGrpSpPr/>
            <p:nvPr/>
          </p:nvGrpSpPr>
          <p:grpSpPr>
            <a:xfrm>
              <a:off x="10042865" y="4703993"/>
              <a:ext cx="107244" cy="278257"/>
              <a:chOff x="10042865" y="4703993"/>
              <a:chExt cx="107244" cy="278257"/>
            </a:xfrm>
            <a:solidFill>
              <a:srgbClr val="747373"/>
            </a:solidFill>
          </p:grpSpPr>
          <p:sp>
            <p:nvSpPr>
              <p:cNvPr id="298" name="Graphic 114">
                <a:extLst>
                  <a:ext uri="{FF2B5EF4-FFF2-40B4-BE49-F238E27FC236}">
                    <a16:creationId xmlns:a16="http://schemas.microsoft.com/office/drawing/2014/main" id="{160BE630-90C5-4541-85CD-389F91527E69}"/>
                  </a:ext>
                </a:extLst>
              </p:cNvPr>
              <p:cNvSpPr/>
              <p:nvPr/>
            </p:nvSpPr>
            <p:spPr>
              <a:xfrm>
                <a:off x="10042865" y="4753522"/>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4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69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69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4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7"/>
                      <a:pt x="62687" y="0"/>
                      <a:pt x="53669" y="0"/>
                    </a:cubicBezTo>
                    <a:cubicBezTo>
                      <a:pt x="44650" y="74"/>
                      <a:pt x="35705" y="591"/>
                      <a:pt x="26760" y="1331"/>
                    </a:cubicBezTo>
                    <a:cubicBezTo>
                      <a:pt x="9018" y="2957"/>
                      <a:pt x="0" y="14563"/>
                      <a:pt x="0" y="32231"/>
                    </a:cubicBezTo>
                    <a:cubicBezTo>
                      <a:pt x="0" y="54260"/>
                      <a:pt x="0" y="76289"/>
                      <a:pt x="0" y="98244"/>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0"/>
                      <a:pt x="25725" y="79468"/>
                    </a:cubicBezTo>
                    <a:cubicBezTo>
                      <a:pt x="25725" y="123526"/>
                      <a:pt x="25725" y="167511"/>
                      <a:pt x="25725" y="211569"/>
                    </a:cubicBezTo>
                    <a:cubicBezTo>
                      <a:pt x="25725" y="213787"/>
                      <a:pt x="25725" y="216153"/>
                      <a:pt x="26243" y="218297"/>
                    </a:cubicBezTo>
                    <a:cubicBezTo>
                      <a:pt x="27721" y="224654"/>
                      <a:pt x="32453" y="228572"/>
                      <a:pt x="38366" y="228720"/>
                    </a:cubicBezTo>
                    <a:cubicBezTo>
                      <a:pt x="44502" y="228942"/>
                      <a:pt x="49602" y="225097"/>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69"/>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4"/>
                    </a:cubicBezTo>
                    <a:cubicBezTo>
                      <a:pt x="107263" y="76215"/>
                      <a:pt x="107263" y="54186"/>
                      <a:pt x="107189" y="32231"/>
                    </a:cubicBezTo>
                    <a:cubicBezTo>
                      <a:pt x="107337" y="14489"/>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9" name="Graphic 114">
                <a:extLst>
                  <a:ext uri="{FF2B5EF4-FFF2-40B4-BE49-F238E27FC236}">
                    <a16:creationId xmlns:a16="http://schemas.microsoft.com/office/drawing/2014/main" id="{AC0B15C7-15F3-E445-9474-237D4575B60D}"/>
                  </a:ext>
                </a:extLst>
              </p:cNvPr>
              <p:cNvSpPr/>
              <p:nvPr/>
            </p:nvSpPr>
            <p:spPr>
              <a:xfrm>
                <a:off x="10074505" y="4703993"/>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3" name="Graphic 114">
              <a:extLst>
                <a:ext uri="{FF2B5EF4-FFF2-40B4-BE49-F238E27FC236}">
                  <a16:creationId xmlns:a16="http://schemas.microsoft.com/office/drawing/2014/main" id="{13BB0855-F5F7-0143-AB31-EB1A1CD71BC6}"/>
                </a:ext>
              </a:extLst>
            </p:cNvPr>
            <p:cNvGrpSpPr/>
            <p:nvPr/>
          </p:nvGrpSpPr>
          <p:grpSpPr>
            <a:xfrm>
              <a:off x="9560869" y="5019943"/>
              <a:ext cx="125994" cy="278102"/>
              <a:chOff x="9560869" y="5019943"/>
              <a:chExt cx="125994" cy="278102"/>
            </a:xfrm>
            <a:solidFill>
              <a:srgbClr val="747373"/>
            </a:solidFill>
          </p:grpSpPr>
          <p:sp>
            <p:nvSpPr>
              <p:cNvPr id="296" name="Graphic 114">
                <a:extLst>
                  <a:ext uri="{FF2B5EF4-FFF2-40B4-BE49-F238E27FC236}">
                    <a16:creationId xmlns:a16="http://schemas.microsoft.com/office/drawing/2014/main" id="{E7A6F659-5D51-8C48-BBDF-4A055660AF0D}"/>
                  </a:ext>
                </a:extLst>
              </p:cNvPr>
              <p:cNvSpPr/>
              <p:nvPr/>
            </p:nvSpPr>
            <p:spPr>
              <a:xfrm>
                <a:off x="9560869"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8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7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6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8"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2"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7" y="136907"/>
                    </a:cubicBezTo>
                    <a:cubicBezTo>
                      <a:pt x="62997"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2"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6"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97" name="Graphic 114">
                <a:extLst>
                  <a:ext uri="{FF2B5EF4-FFF2-40B4-BE49-F238E27FC236}">
                    <a16:creationId xmlns:a16="http://schemas.microsoft.com/office/drawing/2014/main" id="{126B6146-6392-A045-8B9B-17B005C4ECB2}"/>
                  </a:ext>
                </a:extLst>
              </p:cNvPr>
              <p:cNvSpPr/>
              <p:nvPr/>
            </p:nvSpPr>
            <p:spPr>
              <a:xfrm>
                <a:off x="9601837"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40" y="44502"/>
                      <a:pt x="22251" y="44502"/>
                    </a:cubicBezTo>
                    <a:cubicBezTo>
                      <a:pt x="9962" y="44502"/>
                      <a:pt x="0" y="34540"/>
                      <a:pt x="0" y="22251"/>
                    </a:cubicBezTo>
                    <a:cubicBezTo>
                      <a:pt x="0" y="9962"/>
                      <a:pt x="9962" y="0"/>
                      <a:pt x="22251" y="0"/>
                    </a:cubicBezTo>
                    <a:cubicBezTo>
                      <a:pt x="34540"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4" name="Graphic 114">
              <a:extLst>
                <a:ext uri="{FF2B5EF4-FFF2-40B4-BE49-F238E27FC236}">
                  <a16:creationId xmlns:a16="http://schemas.microsoft.com/office/drawing/2014/main" id="{E9B22085-8D0A-CF49-AD00-A460FBDC6BB7}"/>
                </a:ext>
              </a:extLst>
            </p:cNvPr>
            <p:cNvGrpSpPr/>
            <p:nvPr/>
          </p:nvGrpSpPr>
          <p:grpSpPr>
            <a:xfrm>
              <a:off x="9412888" y="5018760"/>
              <a:ext cx="107244" cy="278183"/>
              <a:chOff x="9412888" y="5018760"/>
              <a:chExt cx="107244" cy="278183"/>
            </a:xfrm>
            <a:solidFill>
              <a:srgbClr val="747373"/>
            </a:solidFill>
          </p:grpSpPr>
          <p:sp>
            <p:nvSpPr>
              <p:cNvPr id="294" name="Graphic 114">
                <a:extLst>
                  <a:ext uri="{FF2B5EF4-FFF2-40B4-BE49-F238E27FC236}">
                    <a16:creationId xmlns:a16="http://schemas.microsoft.com/office/drawing/2014/main" id="{A16779B3-BE63-F546-AC23-2B3C55A4906F}"/>
                  </a:ext>
                </a:extLst>
              </p:cNvPr>
              <p:cNvSpPr/>
              <p:nvPr/>
            </p:nvSpPr>
            <p:spPr>
              <a:xfrm>
                <a:off x="9412888"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49" y="74"/>
                      <a:pt x="35705" y="591"/>
                      <a:pt x="26760" y="1331"/>
                    </a:cubicBezTo>
                    <a:cubicBezTo>
                      <a:pt x="9018" y="2957"/>
                      <a:pt x="0" y="14563"/>
                      <a:pt x="0" y="32231"/>
                    </a:cubicBezTo>
                    <a:cubicBezTo>
                      <a:pt x="0" y="54260"/>
                      <a:pt x="0" y="76289"/>
                      <a:pt x="0" y="98245"/>
                    </a:cubicBezTo>
                    <a:cubicBezTo>
                      <a:pt x="0" y="106820"/>
                      <a:pt x="2661" y="110220"/>
                      <a:pt x="8796" y="110516"/>
                    </a:cubicBezTo>
                    <a:cubicBezTo>
                      <a:pt x="16115"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1"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5"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411"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5" name="Graphic 114">
                <a:extLst>
                  <a:ext uri="{FF2B5EF4-FFF2-40B4-BE49-F238E27FC236}">
                    <a16:creationId xmlns:a16="http://schemas.microsoft.com/office/drawing/2014/main" id="{74DB0029-D3B5-7F4B-8C43-EA15FB457E44}"/>
                  </a:ext>
                </a:extLst>
              </p:cNvPr>
              <p:cNvSpPr/>
              <p:nvPr/>
            </p:nvSpPr>
            <p:spPr>
              <a:xfrm>
                <a:off x="9444601" y="5018760"/>
                <a:ext cx="44058" cy="44058"/>
              </a:xfrm>
              <a:custGeom>
                <a:avLst/>
                <a:gdLst>
                  <a:gd name="connsiteX0" fmla="*/ 44059 w 44058"/>
                  <a:gd name="connsiteY0" fmla="*/ 22029 h 44058"/>
                  <a:gd name="connsiteX1" fmla="*/ 22030 w 44058"/>
                  <a:gd name="connsiteY1" fmla="*/ 44058 h 44058"/>
                  <a:gd name="connsiteX2" fmla="*/ 1 w 44058"/>
                  <a:gd name="connsiteY2" fmla="*/ 22029 h 44058"/>
                  <a:gd name="connsiteX3" fmla="*/ 22030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6" y="44058"/>
                      <a:pt x="22030" y="44058"/>
                    </a:cubicBezTo>
                    <a:cubicBezTo>
                      <a:pt x="9864" y="44058"/>
                      <a:pt x="1" y="34196"/>
                      <a:pt x="1" y="22029"/>
                    </a:cubicBezTo>
                    <a:cubicBezTo>
                      <a:pt x="1" y="9863"/>
                      <a:pt x="9864" y="0"/>
                      <a:pt x="22030" y="0"/>
                    </a:cubicBezTo>
                    <a:cubicBezTo>
                      <a:pt x="34196"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5" name="Graphic 114">
              <a:extLst>
                <a:ext uri="{FF2B5EF4-FFF2-40B4-BE49-F238E27FC236}">
                  <a16:creationId xmlns:a16="http://schemas.microsoft.com/office/drawing/2014/main" id="{3AFD5E2B-233B-5F4F-B949-D4F1C5BD8E92}"/>
                </a:ext>
              </a:extLst>
            </p:cNvPr>
            <p:cNvGrpSpPr/>
            <p:nvPr/>
          </p:nvGrpSpPr>
          <p:grpSpPr>
            <a:xfrm>
              <a:off x="9875857" y="5019943"/>
              <a:ext cx="125994" cy="278102"/>
              <a:chOff x="9875857" y="5019943"/>
              <a:chExt cx="125994" cy="278102"/>
            </a:xfrm>
            <a:solidFill>
              <a:srgbClr val="747373"/>
            </a:solidFill>
          </p:grpSpPr>
          <p:sp>
            <p:nvSpPr>
              <p:cNvPr id="292" name="Graphic 114">
                <a:extLst>
                  <a:ext uri="{FF2B5EF4-FFF2-40B4-BE49-F238E27FC236}">
                    <a16:creationId xmlns:a16="http://schemas.microsoft.com/office/drawing/2014/main" id="{2481F994-5BD2-D04E-9BC0-8470F0D53D51}"/>
                  </a:ext>
                </a:extLst>
              </p:cNvPr>
              <p:cNvSpPr/>
              <p:nvPr/>
            </p:nvSpPr>
            <p:spPr>
              <a:xfrm>
                <a:off x="9875857" y="5070433"/>
                <a:ext cx="125994" cy="227612"/>
              </a:xfrm>
              <a:custGeom>
                <a:avLst/>
                <a:gdLst>
                  <a:gd name="connsiteX0" fmla="*/ 107278 w 125994"/>
                  <a:gd name="connsiteY0" fmla="*/ 22916 h 227612"/>
                  <a:gd name="connsiteX1" fmla="*/ 75565 w 125994"/>
                  <a:gd name="connsiteY1" fmla="*/ 0 h 227612"/>
                  <a:gd name="connsiteX2" fmla="*/ 63145 w 125994"/>
                  <a:gd name="connsiteY2" fmla="*/ 0 h 227612"/>
                  <a:gd name="connsiteX3" fmla="*/ 50726 w 125994"/>
                  <a:gd name="connsiteY3" fmla="*/ 0 h 227612"/>
                  <a:gd name="connsiteX4" fmla="*/ 19013 w 125994"/>
                  <a:gd name="connsiteY4" fmla="*/ 22916 h 227612"/>
                  <a:gd name="connsiteX5" fmla="*/ 1197 w 125994"/>
                  <a:gd name="connsiteY5" fmla="*/ 82868 h 227612"/>
                  <a:gd name="connsiteX6" fmla="*/ 310 w 125994"/>
                  <a:gd name="connsiteY6" fmla="*/ 90630 h 227612"/>
                  <a:gd name="connsiteX7" fmla="*/ 6224 w 125994"/>
                  <a:gd name="connsiteY7" fmla="*/ 97949 h 227612"/>
                  <a:gd name="connsiteX8" fmla="*/ 15465 w 125994"/>
                  <a:gd name="connsiteY8" fmla="*/ 94327 h 227612"/>
                  <a:gd name="connsiteX9" fmla="*/ 19087 w 125994"/>
                  <a:gd name="connsiteY9" fmla="*/ 85382 h 227612"/>
                  <a:gd name="connsiteX10" fmla="*/ 34019 w 125994"/>
                  <a:gd name="connsiteY10" fmla="*/ 35409 h 227612"/>
                  <a:gd name="connsiteX11" fmla="*/ 37494 w 125994"/>
                  <a:gd name="connsiteY11" fmla="*/ 30974 h 227612"/>
                  <a:gd name="connsiteX12" fmla="*/ 40155 w 125994"/>
                  <a:gd name="connsiteY12" fmla="*/ 34744 h 227612"/>
                  <a:gd name="connsiteX13" fmla="*/ 15909 w 125994"/>
                  <a:gd name="connsiteY13" fmla="*/ 122565 h 227612"/>
                  <a:gd name="connsiteX14" fmla="*/ 26701 w 125994"/>
                  <a:gd name="connsiteY14" fmla="*/ 136759 h 227612"/>
                  <a:gd name="connsiteX15" fmla="*/ 39268 w 125994"/>
                  <a:gd name="connsiteY15" fmla="*/ 136759 h 227612"/>
                  <a:gd name="connsiteX16" fmla="*/ 39268 w 125994"/>
                  <a:gd name="connsiteY16" fmla="*/ 144077 h 227612"/>
                  <a:gd name="connsiteX17" fmla="*/ 39268 w 125994"/>
                  <a:gd name="connsiteY17" fmla="*/ 204325 h 227612"/>
                  <a:gd name="connsiteX18" fmla="*/ 39712 w 125994"/>
                  <a:gd name="connsiteY18" fmla="*/ 217853 h 227612"/>
                  <a:gd name="connsiteX19" fmla="*/ 49395 w 125994"/>
                  <a:gd name="connsiteY19" fmla="*/ 227611 h 227612"/>
                  <a:gd name="connsiteX20" fmla="*/ 59671 w 125994"/>
                  <a:gd name="connsiteY20" fmla="*/ 218444 h 227612"/>
                  <a:gd name="connsiteX21" fmla="*/ 60632 w 125994"/>
                  <a:gd name="connsiteY21" fmla="*/ 206838 h 227612"/>
                  <a:gd name="connsiteX22" fmla="*/ 60706 w 125994"/>
                  <a:gd name="connsiteY22" fmla="*/ 143486 h 227612"/>
                  <a:gd name="connsiteX23" fmla="*/ 60928 w 125994"/>
                  <a:gd name="connsiteY23" fmla="*/ 138607 h 227612"/>
                  <a:gd name="connsiteX24" fmla="*/ 62850 w 125994"/>
                  <a:gd name="connsiteY24" fmla="*/ 136907 h 227612"/>
                  <a:gd name="connsiteX25" fmla="*/ 62998 w 125994"/>
                  <a:gd name="connsiteY25" fmla="*/ 136907 h 227612"/>
                  <a:gd name="connsiteX26" fmla="*/ 63145 w 125994"/>
                  <a:gd name="connsiteY26" fmla="*/ 136907 h 227612"/>
                  <a:gd name="connsiteX27" fmla="*/ 65067 w 125994"/>
                  <a:gd name="connsiteY27" fmla="*/ 138607 h 227612"/>
                  <a:gd name="connsiteX28" fmla="*/ 65289 w 125994"/>
                  <a:gd name="connsiteY28" fmla="*/ 143486 h 227612"/>
                  <a:gd name="connsiteX29" fmla="*/ 65363 w 125994"/>
                  <a:gd name="connsiteY29" fmla="*/ 206838 h 227612"/>
                  <a:gd name="connsiteX30" fmla="*/ 66324 w 125994"/>
                  <a:gd name="connsiteY30" fmla="*/ 218444 h 227612"/>
                  <a:gd name="connsiteX31" fmla="*/ 76600 w 125994"/>
                  <a:gd name="connsiteY31" fmla="*/ 227611 h 227612"/>
                  <a:gd name="connsiteX32" fmla="*/ 86283 w 125994"/>
                  <a:gd name="connsiteY32" fmla="*/ 217853 h 227612"/>
                  <a:gd name="connsiteX33" fmla="*/ 86727 w 125994"/>
                  <a:gd name="connsiteY33" fmla="*/ 204325 h 227612"/>
                  <a:gd name="connsiteX34" fmla="*/ 86727 w 125994"/>
                  <a:gd name="connsiteY34" fmla="*/ 144077 h 227612"/>
                  <a:gd name="connsiteX35" fmla="*/ 86727 w 125994"/>
                  <a:gd name="connsiteY35" fmla="*/ 136759 h 227612"/>
                  <a:gd name="connsiteX36" fmla="*/ 99294 w 125994"/>
                  <a:gd name="connsiteY36" fmla="*/ 136759 h 227612"/>
                  <a:gd name="connsiteX37" fmla="*/ 110087 w 125994"/>
                  <a:gd name="connsiteY37" fmla="*/ 122565 h 227612"/>
                  <a:gd name="connsiteX38" fmla="*/ 85840 w 125994"/>
                  <a:gd name="connsiteY38" fmla="*/ 34744 h 227612"/>
                  <a:gd name="connsiteX39" fmla="*/ 88501 w 125994"/>
                  <a:gd name="connsiteY39" fmla="*/ 30974 h 227612"/>
                  <a:gd name="connsiteX40" fmla="*/ 91975 w 125994"/>
                  <a:gd name="connsiteY40" fmla="*/ 35409 h 227612"/>
                  <a:gd name="connsiteX41" fmla="*/ 106908 w 125994"/>
                  <a:gd name="connsiteY41" fmla="*/ 85382 h 227612"/>
                  <a:gd name="connsiteX42" fmla="*/ 110530 w 125994"/>
                  <a:gd name="connsiteY42" fmla="*/ 94327 h 227612"/>
                  <a:gd name="connsiteX43" fmla="*/ 119771 w 125994"/>
                  <a:gd name="connsiteY43" fmla="*/ 97949 h 227612"/>
                  <a:gd name="connsiteX44" fmla="*/ 125685 w 125994"/>
                  <a:gd name="connsiteY44" fmla="*/ 90630 h 227612"/>
                  <a:gd name="connsiteX45" fmla="*/ 124798 w 125994"/>
                  <a:gd name="connsiteY45" fmla="*/ 82868 h 227612"/>
                  <a:gd name="connsiteX46" fmla="*/ 107278 w 125994"/>
                  <a:gd name="connsiteY46" fmla="*/ 22916 h 22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5994" h="227612">
                    <a:moveTo>
                      <a:pt x="107278" y="22916"/>
                    </a:moveTo>
                    <a:cubicBezTo>
                      <a:pt x="102621" y="7688"/>
                      <a:pt x="91753" y="0"/>
                      <a:pt x="75565" y="0"/>
                    </a:cubicBezTo>
                    <a:cubicBezTo>
                      <a:pt x="71424" y="0"/>
                      <a:pt x="67285" y="0"/>
                      <a:pt x="63145" y="0"/>
                    </a:cubicBezTo>
                    <a:cubicBezTo>
                      <a:pt x="59006" y="0"/>
                      <a:pt x="54866" y="0"/>
                      <a:pt x="50726" y="0"/>
                    </a:cubicBezTo>
                    <a:cubicBezTo>
                      <a:pt x="34537" y="0"/>
                      <a:pt x="23670" y="7688"/>
                      <a:pt x="19013" y="22916"/>
                    </a:cubicBezTo>
                    <a:cubicBezTo>
                      <a:pt x="12877" y="42876"/>
                      <a:pt x="7037" y="62835"/>
                      <a:pt x="1197" y="82868"/>
                    </a:cubicBezTo>
                    <a:cubicBezTo>
                      <a:pt x="458" y="85382"/>
                      <a:pt x="-503" y="88413"/>
                      <a:pt x="310" y="90630"/>
                    </a:cubicBezTo>
                    <a:cubicBezTo>
                      <a:pt x="1419" y="93513"/>
                      <a:pt x="3785" y="97505"/>
                      <a:pt x="6224" y="97949"/>
                    </a:cubicBezTo>
                    <a:cubicBezTo>
                      <a:pt x="9033" y="98540"/>
                      <a:pt x="13173" y="96544"/>
                      <a:pt x="15465" y="94327"/>
                    </a:cubicBezTo>
                    <a:cubicBezTo>
                      <a:pt x="17535" y="92257"/>
                      <a:pt x="18126" y="88487"/>
                      <a:pt x="19087" y="85382"/>
                    </a:cubicBezTo>
                    <a:cubicBezTo>
                      <a:pt x="24114" y="68749"/>
                      <a:pt x="28992" y="52042"/>
                      <a:pt x="34019" y="35409"/>
                    </a:cubicBezTo>
                    <a:cubicBezTo>
                      <a:pt x="34685" y="33266"/>
                      <a:pt x="35350" y="30900"/>
                      <a:pt x="37494" y="30974"/>
                    </a:cubicBezTo>
                    <a:cubicBezTo>
                      <a:pt x="39416" y="31048"/>
                      <a:pt x="40673" y="32970"/>
                      <a:pt x="40155" y="34744"/>
                    </a:cubicBezTo>
                    <a:cubicBezTo>
                      <a:pt x="32097" y="63944"/>
                      <a:pt x="24114" y="92996"/>
                      <a:pt x="15909" y="122565"/>
                    </a:cubicBezTo>
                    <a:cubicBezTo>
                      <a:pt x="13912" y="129736"/>
                      <a:pt x="19309" y="136759"/>
                      <a:pt x="26701" y="136759"/>
                    </a:cubicBezTo>
                    <a:lnTo>
                      <a:pt x="39268" y="136759"/>
                    </a:lnTo>
                    <a:lnTo>
                      <a:pt x="39268" y="144077"/>
                    </a:lnTo>
                    <a:cubicBezTo>
                      <a:pt x="39268" y="164184"/>
                      <a:pt x="39268" y="184292"/>
                      <a:pt x="39268" y="204325"/>
                    </a:cubicBezTo>
                    <a:cubicBezTo>
                      <a:pt x="39268" y="208834"/>
                      <a:pt x="39268" y="213344"/>
                      <a:pt x="39712" y="217853"/>
                    </a:cubicBezTo>
                    <a:cubicBezTo>
                      <a:pt x="40377" y="224284"/>
                      <a:pt x="43777" y="227537"/>
                      <a:pt x="49395" y="227611"/>
                    </a:cubicBezTo>
                    <a:cubicBezTo>
                      <a:pt x="55236" y="227685"/>
                      <a:pt x="58710" y="224802"/>
                      <a:pt x="59671" y="218444"/>
                    </a:cubicBezTo>
                    <a:cubicBezTo>
                      <a:pt x="60263" y="214600"/>
                      <a:pt x="60632" y="210682"/>
                      <a:pt x="60632" y="206838"/>
                    </a:cubicBezTo>
                    <a:cubicBezTo>
                      <a:pt x="60706" y="185696"/>
                      <a:pt x="60632" y="164554"/>
                      <a:pt x="60706" y="143486"/>
                    </a:cubicBezTo>
                    <a:cubicBezTo>
                      <a:pt x="60706" y="141859"/>
                      <a:pt x="60632" y="140159"/>
                      <a:pt x="60928" y="138607"/>
                    </a:cubicBezTo>
                    <a:cubicBezTo>
                      <a:pt x="61076" y="137868"/>
                      <a:pt x="62258" y="136759"/>
                      <a:pt x="62850" y="136907"/>
                    </a:cubicBezTo>
                    <a:cubicBezTo>
                      <a:pt x="62850" y="136907"/>
                      <a:pt x="62924" y="136907"/>
                      <a:pt x="62998" y="136907"/>
                    </a:cubicBezTo>
                    <a:cubicBezTo>
                      <a:pt x="62998" y="136907"/>
                      <a:pt x="63071" y="136907"/>
                      <a:pt x="63145" y="136907"/>
                    </a:cubicBezTo>
                    <a:cubicBezTo>
                      <a:pt x="63737" y="136833"/>
                      <a:pt x="64919" y="137942"/>
                      <a:pt x="65067" y="138607"/>
                    </a:cubicBezTo>
                    <a:cubicBezTo>
                      <a:pt x="65437" y="140159"/>
                      <a:pt x="65289" y="141859"/>
                      <a:pt x="65289" y="143486"/>
                    </a:cubicBezTo>
                    <a:cubicBezTo>
                      <a:pt x="65289" y="164628"/>
                      <a:pt x="65289" y="185770"/>
                      <a:pt x="65363" y="206838"/>
                    </a:cubicBezTo>
                    <a:cubicBezTo>
                      <a:pt x="65363" y="210756"/>
                      <a:pt x="65733" y="214600"/>
                      <a:pt x="66324" y="218444"/>
                    </a:cubicBezTo>
                    <a:cubicBezTo>
                      <a:pt x="67285" y="224802"/>
                      <a:pt x="70833" y="227685"/>
                      <a:pt x="76600" y="227611"/>
                    </a:cubicBezTo>
                    <a:cubicBezTo>
                      <a:pt x="82218" y="227537"/>
                      <a:pt x="85692" y="224284"/>
                      <a:pt x="86283" y="217853"/>
                    </a:cubicBezTo>
                    <a:cubicBezTo>
                      <a:pt x="86727" y="213344"/>
                      <a:pt x="86727" y="208834"/>
                      <a:pt x="86727" y="204325"/>
                    </a:cubicBezTo>
                    <a:cubicBezTo>
                      <a:pt x="86727" y="184218"/>
                      <a:pt x="86727" y="164110"/>
                      <a:pt x="86727" y="144077"/>
                    </a:cubicBezTo>
                    <a:lnTo>
                      <a:pt x="86727" y="136759"/>
                    </a:lnTo>
                    <a:lnTo>
                      <a:pt x="99294" y="136759"/>
                    </a:lnTo>
                    <a:cubicBezTo>
                      <a:pt x="106686" y="136759"/>
                      <a:pt x="112082" y="129736"/>
                      <a:pt x="110087" y="122565"/>
                    </a:cubicBezTo>
                    <a:cubicBezTo>
                      <a:pt x="101955" y="92922"/>
                      <a:pt x="93897" y="63944"/>
                      <a:pt x="85840" y="34744"/>
                    </a:cubicBezTo>
                    <a:cubicBezTo>
                      <a:pt x="85322" y="32896"/>
                      <a:pt x="86653" y="31048"/>
                      <a:pt x="88501" y="30974"/>
                    </a:cubicBezTo>
                    <a:cubicBezTo>
                      <a:pt x="90645" y="30900"/>
                      <a:pt x="91310" y="33192"/>
                      <a:pt x="91975" y="35409"/>
                    </a:cubicBezTo>
                    <a:cubicBezTo>
                      <a:pt x="97003" y="52042"/>
                      <a:pt x="101881" y="68749"/>
                      <a:pt x="106908" y="85382"/>
                    </a:cubicBezTo>
                    <a:cubicBezTo>
                      <a:pt x="107869" y="88487"/>
                      <a:pt x="108386" y="92257"/>
                      <a:pt x="110530" y="94327"/>
                    </a:cubicBezTo>
                    <a:cubicBezTo>
                      <a:pt x="112822" y="96544"/>
                      <a:pt x="116962" y="98540"/>
                      <a:pt x="119771" y="97949"/>
                    </a:cubicBezTo>
                    <a:cubicBezTo>
                      <a:pt x="122210" y="97431"/>
                      <a:pt x="124576" y="93513"/>
                      <a:pt x="125685" y="90630"/>
                    </a:cubicBezTo>
                    <a:cubicBezTo>
                      <a:pt x="126498" y="88487"/>
                      <a:pt x="125537" y="85382"/>
                      <a:pt x="124798" y="82868"/>
                    </a:cubicBezTo>
                    <a:cubicBezTo>
                      <a:pt x="119254" y="62835"/>
                      <a:pt x="113413" y="42876"/>
                      <a:pt x="107278" y="22916"/>
                    </a:cubicBezTo>
                    <a:close/>
                  </a:path>
                </a:pathLst>
              </a:custGeom>
              <a:solidFill>
                <a:srgbClr val="747373"/>
              </a:solidFill>
              <a:ln w="7388" cap="flat">
                <a:noFill/>
                <a:prstDash val="solid"/>
                <a:miter/>
              </a:ln>
            </p:spPr>
            <p:txBody>
              <a:bodyPr rtlCol="0" anchor="ctr"/>
              <a:lstStyle/>
              <a:p>
                <a:endParaRPr lang="nl-NL" sz="5000"/>
              </a:p>
            </p:txBody>
          </p:sp>
          <p:sp>
            <p:nvSpPr>
              <p:cNvPr id="293" name="Graphic 114">
                <a:extLst>
                  <a:ext uri="{FF2B5EF4-FFF2-40B4-BE49-F238E27FC236}">
                    <a16:creationId xmlns:a16="http://schemas.microsoft.com/office/drawing/2014/main" id="{D0397282-AD95-E24C-AE0B-551F6CD7F278}"/>
                  </a:ext>
                </a:extLst>
              </p:cNvPr>
              <p:cNvSpPr/>
              <p:nvPr/>
            </p:nvSpPr>
            <p:spPr>
              <a:xfrm>
                <a:off x="9916825" y="5019943"/>
                <a:ext cx="44502" cy="44502"/>
              </a:xfrm>
              <a:custGeom>
                <a:avLst/>
                <a:gdLst>
                  <a:gd name="connsiteX0" fmla="*/ 44502 w 44502"/>
                  <a:gd name="connsiteY0" fmla="*/ 22251 h 44502"/>
                  <a:gd name="connsiteX1" fmla="*/ 22251 w 44502"/>
                  <a:gd name="connsiteY1" fmla="*/ 44502 h 44502"/>
                  <a:gd name="connsiteX2" fmla="*/ 0 w 44502"/>
                  <a:gd name="connsiteY2" fmla="*/ 22251 h 44502"/>
                  <a:gd name="connsiteX3" fmla="*/ 22251 w 44502"/>
                  <a:gd name="connsiteY3" fmla="*/ 0 h 44502"/>
                  <a:gd name="connsiteX4" fmla="*/ 44502 w 44502"/>
                  <a:gd name="connsiteY4" fmla="*/ 22251 h 44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2" h="44502">
                    <a:moveTo>
                      <a:pt x="44502" y="22251"/>
                    </a:moveTo>
                    <a:cubicBezTo>
                      <a:pt x="44502" y="34540"/>
                      <a:pt x="34539" y="44502"/>
                      <a:pt x="22251" y="44502"/>
                    </a:cubicBezTo>
                    <a:cubicBezTo>
                      <a:pt x="9962" y="44502"/>
                      <a:pt x="0" y="34540"/>
                      <a:pt x="0" y="22251"/>
                    </a:cubicBezTo>
                    <a:cubicBezTo>
                      <a:pt x="0" y="9962"/>
                      <a:pt x="9962" y="0"/>
                      <a:pt x="22251" y="0"/>
                    </a:cubicBezTo>
                    <a:cubicBezTo>
                      <a:pt x="34539" y="0"/>
                      <a:pt x="44502" y="9962"/>
                      <a:pt x="44502" y="22251"/>
                    </a:cubicBezTo>
                    <a:close/>
                  </a:path>
                </a:pathLst>
              </a:custGeom>
              <a:solidFill>
                <a:srgbClr val="747373"/>
              </a:solidFill>
              <a:ln w="7388" cap="flat">
                <a:noFill/>
                <a:prstDash val="solid"/>
                <a:miter/>
              </a:ln>
            </p:spPr>
            <p:txBody>
              <a:bodyPr rtlCol="0" anchor="ctr"/>
              <a:lstStyle/>
              <a:p>
                <a:endParaRPr lang="nl-NL" sz="5000"/>
              </a:p>
            </p:txBody>
          </p:sp>
        </p:grpSp>
        <p:grpSp>
          <p:nvGrpSpPr>
            <p:cNvPr id="286" name="Graphic 114">
              <a:extLst>
                <a:ext uri="{FF2B5EF4-FFF2-40B4-BE49-F238E27FC236}">
                  <a16:creationId xmlns:a16="http://schemas.microsoft.com/office/drawing/2014/main" id="{0F88246E-E697-CE46-80AD-AC84CE9A0F11}"/>
                </a:ext>
              </a:extLst>
            </p:cNvPr>
            <p:cNvGrpSpPr/>
            <p:nvPr/>
          </p:nvGrpSpPr>
          <p:grpSpPr>
            <a:xfrm>
              <a:off x="9727877" y="5018760"/>
              <a:ext cx="107244" cy="278183"/>
              <a:chOff x="9727877" y="5018760"/>
              <a:chExt cx="107244" cy="278183"/>
            </a:xfrm>
            <a:solidFill>
              <a:srgbClr val="747373"/>
            </a:solidFill>
          </p:grpSpPr>
          <p:sp>
            <p:nvSpPr>
              <p:cNvPr id="290" name="Graphic 114">
                <a:extLst>
                  <a:ext uri="{FF2B5EF4-FFF2-40B4-BE49-F238E27FC236}">
                    <a16:creationId xmlns:a16="http://schemas.microsoft.com/office/drawing/2014/main" id="{F0F59EC2-442C-6F4E-B464-42250507D88A}"/>
                  </a:ext>
                </a:extLst>
              </p:cNvPr>
              <p:cNvSpPr/>
              <p:nvPr/>
            </p:nvSpPr>
            <p:spPr>
              <a:xfrm>
                <a:off x="9727877"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2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2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7 w 107244"/>
                  <a:gd name="connsiteY31" fmla="*/ 38514 h 228729"/>
                  <a:gd name="connsiteX32" fmla="*/ 87229 w 107244"/>
                  <a:gd name="connsiteY32" fmla="*/ 41619 h 228729"/>
                  <a:gd name="connsiteX33" fmla="*/ 87229 w 107244"/>
                  <a:gd name="connsiteY33" fmla="*/ 46128 h 228729"/>
                  <a:gd name="connsiteX34" fmla="*/ 87303 w 107244"/>
                  <a:gd name="connsiteY34" fmla="*/ 99797 h 228729"/>
                  <a:gd name="connsiteX35" fmla="*/ 98392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1" y="107411"/>
                      <a:pt x="19885" y="99797"/>
                    </a:cubicBezTo>
                    <a:cubicBezTo>
                      <a:pt x="19959" y="81907"/>
                      <a:pt x="19885" y="64018"/>
                      <a:pt x="19959" y="46128"/>
                    </a:cubicBezTo>
                    <a:cubicBezTo>
                      <a:pt x="19959" y="44650"/>
                      <a:pt x="19959" y="43171"/>
                      <a:pt x="19959" y="41619"/>
                    </a:cubicBezTo>
                    <a:cubicBezTo>
                      <a:pt x="19959" y="39697"/>
                      <a:pt x="21659"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2"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0" y="225171"/>
                      <a:pt x="62687" y="228942"/>
                      <a:pt x="68822"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7" y="38514"/>
                    </a:cubicBezTo>
                    <a:cubicBezTo>
                      <a:pt x="85529" y="38145"/>
                      <a:pt x="87229" y="39697"/>
                      <a:pt x="87229" y="41619"/>
                    </a:cubicBezTo>
                    <a:cubicBezTo>
                      <a:pt x="87229" y="43171"/>
                      <a:pt x="87229" y="44650"/>
                      <a:pt x="87229" y="46128"/>
                    </a:cubicBezTo>
                    <a:cubicBezTo>
                      <a:pt x="87229" y="64018"/>
                      <a:pt x="87156" y="81907"/>
                      <a:pt x="87303" y="99797"/>
                    </a:cubicBezTo>
                    <a:cubicBezTo>
                      <a:pt x="87303" y="107411"/>
                      <a:pt x="91074" y="110885"/>
                      <a:pt x="98392" y="110516"/>
                    </a:cubicBezTo>
                    <a:cubicBezTo>
                      <a:pt x="104528" y="110220"/>
                      <a:pt x="107189" y="106746"/>
                      <a:pt x="107189" y="98245"/>
                    </a:cubicBezTo>
                    <a:cubicBezTo>
                      <a:pt x="107263" y="76215"/>
                      <a:pt x="107263" y="54186"/>
                      <a:pt x="107189" y="32231"/>
                    </a:cubicBezTo>
                    <a:cubicBezTo>
                      <a:pt x="107337" y="14563"/>
                      <a:pt x="98392"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91" name="Graphic 114">
                <a:extLst>
                  <a:ext uri="{FF2B5EF4-FFF2-40B4-BE49-F238E27FC236}">
                    <a16:creationId xmlns:a16="http://schemas.microsoft.com/office/drawing/2014/main" id="{2F433265-8C67-FE45-87B0-E158C7689767}"/>
                  </a:ext>
                </a:extLst>
              </p:cNvPr>
              <p:cNvSpPr/>
              <p:nvPr/>
            </p:nvSpPr>
            <p:spPr>
              <a:xfrm>
                <a:off x="9759516" y="5018760"/>
                <a:ext cx="44058" cy="44058"/>
              </a:xfrm>
              <a:custGeom>
                <a:avLst/>
                <a:gdLst>
                  <a:gd name="connsiteX0" fmla="*/ 44059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9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9" y="22029"/>
                    </a:moveTo>
                    <a:cubicBezTo>
                      <a:pt x="44059" y="34196"/>
                      <a:pt x="34195" y="44058"/>
                      <a:pt x="22029" y="44058"/>
                    </a:cubicBezTo>
                    <a:cubicBezTo>
                      <a:pt x="9863" y="44058"/>
                      <a:pt x="0" y="34196"/>
                      <a:pt x="0" y="22029"/>
                    </a:cubicBezTo>
                    <a:cubicBezTo>
                      <a:pt x="0" y="9863"/>
                      <a:pt x="9863" y="0"/>
                      <a:pt x="22029" y="0"/>
                    </a:cubicBezTo>
                    <a:cubicBezTo>
                      <a:pt x="34195" y="0"/>
                      <a:pt x="44059" y="9863"/>
                      <a:pt x="44059" y="22029"/>
                    </a:cubicBezTo>
                    <a:close/>
                  </a:path>
                </a:pathLst>
              </a:custGeom>
              <a:solidFill>
                <a:srgbClr val="747373"/>
              </a:solidFill>
              <a:ln w="7388" cap="flat">
                <a:noFill/>
                <a:prstDash val="solid"/>
                <a:miter/>
              </a:ln>
            </p:spPr>
            <p:txBody>
              <a:bodyPr rtlCol="0" anchor="ctr"/>
              <a:lstStyle/>
              <a:p>
                <a:endParaRPr lang="nl-NL" sz="5000"/>
              </a:p>
            </p:txBody>
          </p:sp>
        </p:grpSp>
        <p:grpSp>
          <p:nvGrpSpPr>
            <p:cNvPr id="287" name="Graphic 114">
              <a:extLst>
                <a:ext uri="{FF2B5EF4-FFF2-40B4-BE49-F238E27FC236}">
                  <a16:creationId xmlns:a16="http://schemas.microsoft.com/office/drawing/2014/main" id="{2FF00BD4-C293-8840-A884-AB6F928DC849}"/>
                </a:ext>
              </a:extLst>
            </p:cNvPr>
            <p:cNvGrpSpPr/>
            <p:nvPr/>
          </p:nvGrpSpPr>
          <p:grpSpPr>
            <a:xfrm>
              <a:off x="10042865" y="5018760"/>
              <a:ext cx="107244" cy="278183"/>
              <a:chOff x="10042865" y="5018760"/>
              <a:chExt cx="107244" cy="278183"/>
            </a:xfrm>
            <a:solidFill>
              <a:srgbClr val="747373"/>
            </a:solidFill>
          </p:grpSpPr>
          <p:sp>
            <p:nvSpPr>
              <p:cNvPr id="288" name="Graphic 114">
                <a:extLst>
                  <a:ext uri="{FF2B5EF4-FFF2-40B4-BE49-F238E27FC236}">
                    <a16:creationId xmlns:a16="http://schemas.microsoft.com/office/drawing/2014/main" id="{7E58F10B-95C1-EE42-B0DB-8BE9A5C5D1A7}"/>
                  </a:ext>
                </a:extLst>
              </p:cNvPr>
              <p:cNvSpPr/>
              <p:nvPr/>
            </p:nvSpPr>
            <p:spPr>
              <a:xfrm>
                <a:off x="10042865" y="5068215"/>
                <a:ext cx="107244" cy="228729"/>
              </a:xfrm>
              <a:custGeom>
                <a:avLst/>
                <a:gdLst>
                  <a:gd name="connsiteX0" fmla="*/ 80577 w 107244"/>
                  <a:gd name="connsiteY0" fmla="*/ 1331 h 228729"/>
                  <a:gd name="connsiteX1" fmla="*/ 53669 w 107244"/>
                  <a:gd name="connsiteY1" fmla="*/ 0 h 228729"/>
                  <a:gd name="connsiteX2" fmla="*/ 26760 w 107244"/>
                  <a:gd name="connsiteY2" fmla="*/ 1331 h 228729"/>
                  <a:gd name="connsiteX3" fmla="*/ 0 w 107244"/>
                  <a:gd name="connsiteY3" fmla="*/ 32231 h 228729"/>
                  <a:gd name="connsiteX4" fmla="*/ 0 w 107244"/>
                  <a:gd name="connsiteY4" fmla="*/ 98245 h 228729"/>
                  <a:gd name="connsiteX5" fmla="*/ 8796 w 107244"/>
                  <a:gd name="connsiteY5" fmla="*/ 110516 h 228729"/>
                  <a:gd name="connsiteX6" fmla="*/ 19885 w 107244"/>
                  <a:gd name="connsiteY6" fmla="*/ 99797 h 228729"/>
                  <a:gd name="connsiteX7" fmla="*/ 19959 w 107244"/>
                  <a:gd name="connsiteY7" fmla="*/ 46128 h 228729"/>
                  <a:gd name="connsiteX8" fmla="*/ 19959 w 107244"/>
                  <a:gd name="connsiteY8" fmla="*/ 41619 h 228729"/>
                  <a:gd name="connsiteX9" fmla="*/ 23581 w 107244"/>
                  <a:gd name="connsiteY9" fmla="*/ 38514 h 228729"/>
                  <a:gd name="connsiteX10" fmla="*/ 25725 w 107244"/>
                  <a:gd name="connsiteY10" fmla="*/ 43024 h 228729"/>
                  <a:gd name="connsiteX11" fmla="*/ 25725 w 107244"/>
                  <a:gd name="connsiteY11" fmla="*/ 79468 h 228729"/>
                  <a:gd name="connsiteX12" fmla="*/ 25725 w 107244"/>
                  <a:gd name="connsiteY12" fmla="*/ 211570 h 228729"/>
                  <a:gd name="connsiteX13" fmla="*/ 26243 w 107244"/>
                  <a:gd name="connsiteY13" fmla="*/ 218297 h 228729"/>
                  <a:gd name="connsiteX14" fmla="*/ 38366 w 107244"/>
                  <a:gd name="connsiteY14" fmla="*/ 228720 h 228729"/>
                  <a:gd name="connsiteX15" fmla="*/ 51229 w 107244"/>
                  <a:gd name="connsiteY15" fmla="*/ 218518 h 228729"/>
                  <a:gd name="connsiteX16" fmla="*/ 51969 w 107244"/>
                  <a:gd name="connsiteY16" fmla="*/ 210609 h 228729"/>
                  <a:gd name="connsiteX17" fmla="*/ 51969 w 107244"/>
                  <a:gd name="connsiteY17" fmla="*/ 118056 h 228729"/>
                  <a:gd name="connsiteX18" fmla="*/ 51969 w 107244"/>
                  <a:gd name="connsiteY18" fmla="*/ 112512 h 228729"/>
                  <a:gd name="connsiteX19" fmla="*/ 53595 w 107244"/>
                  <a:gd name="connsiteY19" fmla="*/ 110220 h 228729"/>
                  <a:gd name="connsiteX20" fmla="*/ 53595 w 107244"/>
                  <a:gd name="connsiteY20" fmla="*/ 110220 h 228729"/>
                  <a:gd name="connsiteX21" fmla="*/ 53595 w 107244"/>
                  <a:gd name="connsiteY21" fmla="*/ 110220 h 228729"/>
                  <a:gd name="connsiteX22" fmla="*/ 55221 w 107244"/>
                  <a:gd name="connsiteY22" fmla="*/ 112512 h 228729"/>
                  <a:gd name="connsiteX23" fmla="*/ 55221 w 107244"/>
                  <a:gd name="connsiteY23" fmla="*/ 118056 h 228729"/>
                  <a:gd name="connsiteX24" fmla="*/ 55221 w 107244"/>
                  <a:gd name="connsiteY24" fmla="*/ 210609 h 228729"/>
                  <a:gd name="connsiteX25" fmla="*/ 55960 w 107244"/>
                  <a:gd name="connsiteY25" fmla="*/ 218518 h 228729"/>
                  <a:gd name="connsiteX26" fmla="*/ 68823 w 107244"/>
                  <a:gd name="connsiteY26" fmla="*/ 228720 h 228729"/>
                  <a:gd name="connsiteX27" fmla="*/ 80946 w 107244"/>
                  <a:gd name="connsiteY27" fmla="*/ 218297 h 228729"/>
                  <a:gd name="connsiteX28" fmla="*/ 81464 w 107244"/>
                  <a:gd name="connsiteY28" fmla="*/ 211570 h 228729"/>
                  <a:gd name="connsiteX29" fmla="*/ 81464 w 107244"/>
                  <a:gd name="connsiteY29" fmla="*/ 79468 h 228729"/>
                  <a:gd name="connsiteX30" fmla="*/ 81464 w 107244"/>
                  <a:gd name="connsiteY30" fmla="*/ 43024 h 228729"/>
                  <a:gd name="connsiteX31" fmla="*/ 83608 w 107244"/>
                  <a:gd name="connsiteY31" fmla="*/ 38514 h 228729"/>
                  <a:gd name="connsiteX32" fmla="*/ 87230 w 107244"/>
                  <a:gd name="connsiteY32" fmla="*/ 41619 h 228729"/>
                  <a:gd name="connsiteX33" fmla="*/ 87230 w 107244"/>
                  <a:gd name="connsiteY33" fmla="*/ 46128 h 228729"/>
                  <a:gd name="connsiteX34" fmla="*/ 87304 w 107244"/>
                  <a:gd name="connsiteY34" fmla="*/ 99797 h 228729"/>
                  <a:gd name="connsiteX35" fmla="*/ 98393 w 107244"/>
                  <a:gd name="connsiteY35" fmla="*/ 110516 h 228729"/>
                  <a:gd name="connsiteX36" fmla="*/ 107189 w 107244"/>
                  <a:gd name="connsiteY36" fmla="*/ 98245 h 228729"/>
                  <a:gd name="connsiteX37" fmla="*/ 107189 w 107244"/>
                  <a:gd name="connsiteY37" fmla="*/ 32231 h 228729"/>
                  <a:gd name="connsiteX38" fmla="*/ 80577 w 107244"/>
                  <a:gd name="connsiteY38" fmla="*/ 1331 h 2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244" h="228729">
                    <a:moveTo>
                      <a:pt x="80577" y="1331"/>
                    </a:moveTo>
                    <a:cubicBezTo>
                      <a:pt x="71706" y="518"/>
                      <a:pt x="62687" y="0"/>
                      <a:pt x="53669" y="0"/>
                    </a:cubicBezTo>
                    <a:cubicBezTo>
                      <a:pt x="44650" y="74"/>
                      <a:pt x="35705" y="591"/>
                      <a:pt x="26760" y="1331"/>
                    </a:cubicBezTo>
                    <a:cubicBezTo>
                      <a:pt x="9018" y="2957"/>
                      <a:pt x="0" y="14563"/>
                      <a:pt x="0" y="32231"/>
                    </a:cubicBezTo>
                    <a:cubicBezTo>
                      <a:pt x="0" y="54260"/>
                      <a:pt x="0" y="76289"/>
                      <a:pt x="0" y="98245"/>
                    </a:cubicBezTo>
                    <a:cubicBezTo>
                      <a:pt x="0" y="106820"/>
                      <a:pt x="2661" y="110220"/>
                      <a:pt x="8796" y="110516"/>
                    </a:cubicBezTo>
                    <a:cubicBezTo>
                      <a:pt x="16042" y="110885"/>
                      <a:pt x="19812" y="107411"/>
                      <a:pt x="19885" y="99797"/>
                    </a:cubicBezTo>
                    <a:cubicBezTo>
                      <a:pt x="19959" y="81907"/>
                      <a:pt x="19885" y="64018"/>
                      <a:pt x="19959" y="46128"/>
                    </a:cubicBezTo>
                    <a:cubicBezTo>
                      <a:pt x="19959" y="44650"/>
                      <a:pt x="19959" y="43171"/>
                      <a:pt x="19959" y="41619"/>
                    </a:cubicBezTo>
                    <a:cubicBezTo>
                      <a:pt x="19959" y="39697"/>
                      <a:pt x="21660" y="38219"/>
                      <a:pt x="23581" y="38514"/>
                    </a:cubicBezTo>
                    <a:cubicBezTo>
                      <a:pt x="25282" y="38810"/>
                      <a:pt x="25725" y="40510"/>
                      <a:pt x="25725" y="43024"/>
                    </a:cubicBezTo>
                    <a:cubicBezTo>
                      <a:pt x="25577" y="55147"/>
                      <a:pt x="25725" y="67271"/>
                      <a:pt x="25725" y="79468"/>
                    </a:cubicBezTo>
                    <a:cubicBezTo>
                      <a:pt x="25725" y="123526"/>
                      <a:pt x="25725" y="167511"/>
                      <a:pt x="25725" y="211570"/>
                    </a:cubicBezTo>
                    <a:cubicBezTo>
                      <a:pt x="25725" y="213787"/>
                      <a:pt x="25725" y="216153"/>
                      <a:pt x="26243" y="218297"/>
                    </a:cubicBezTo>
                    <a:cubicBezTo>
                      <a:pt x="27721" y="224654"/>
                      <a:pt x="32453" y="228572"/>
                      <a:pt x="38366" y="228720"/>
                    </a:cubicBezTo>
                    <a:cubicBezTo>
                      <a:pt x="44502" y="228942"/>
                      <a:pt x="49602" y="225098"/>
                      <a:pt x="51229" y="218518"/>
                    </a:cubicBezTo>
                    <a:cubicBezTo>
                      <a:pt x="51895" y="215931"/>
                      <a:pt x="51969" y="213196"/>
                      <a:pt x="51969" y="210609"/>
                    </a:cubicBezTo>
                    <a:cubicBezTo>
                      <a:pt x="51969" y="179708"/>
                      <a:pt x="51969" y="148882"/>
                      <a:pt x="51969" y="118056"/>
                    </a:cubicBezTo>
                    <a:lnTo>
                      <a:pt x="51969" y="112512"/>
                    </a:lnTo>
                    <a:cubicBezTo>
                      <a:pt x="51969" y="111477"/>
                      <a:pt x="52634" y="110516"/>
                      <a:pt x="53595" y="110220"/>
                    </a:cubicBezTo>
                    <a:lnTo>
                      <a:pt x="53595" y="110220"/>
                    </a:lnTo>
                    <a:lnTo>
                      <a:pt x="53595" y="110220"/>
                    </a:lnTo>
                    <a:cubicBezTo>
                      <a:pt x="54556" y="110516"/>
                      <a:pt x="55221" y="111477"/>
                      <a:pt x="55221" y="112512"/>
                    </a:cubicBezTo>
                    <a:lnTo>
                      <a:pt x="55221" y="118056"/>
                    </a:lnTo>
                    <a:cubicBezTo>
                      <a:pt x="55221" y="148882"/>
                      <a:pt x="55221" y="179782"/>
                      <a:pt x="55221" y="210609"/>
                    </a:cubicBezTo>
                    <a:cubicBezTo>
                      <a:pt x="55221" y="213270"/>
                      <a:pt x="55295" y="216005"/>
                      <a:pt x="55960" y="218518"/>
                    </a:cubicBezTo>
                    <a:cubicBezTo>
                      <a:pt x="57661" y="225171"/>
                      <a:pt x="62687" y="228942"/>
                      <a:pt x="68823" y="228720"/>
                    </a:cubicBezTo>
                    <a:cubicBezTo>
                      <a:pt x="74737" y="228498"/>
                      <a:pt x="79394" y="224654"/>
                      <a:pt x="80946" y="218297"/>
                    </a:cubicBezTo>
                    <a:cubicBezTo>
                      <a:pt x="81464" y="216153"/>
                      <a:pt x="81464" y="213787"/>
                      <a:pt x="81464" y="211570"/>
                    </a:cubicBezTo>
                    <a:cubicBezTo>
                      <a:pt x="81464" y="167511"/>
                      <a:pt x="81464" y="123526"/>
                      <a:pt x="81464" y="79468"/>
                    </a:cubicBezTo>
                    <a:cubicBezTo>
                      <a:pt x="81464" y="67344"/>
                      <a:pt x="81538" y="55221"/>
                      <a:pt x="81464" y="43024"/>
                    </a:cubicBezTo>
                    <a:cubicBezTo>
                      <a:pt x="81464" y="40510"/>
                      <a:pt x="81907" y="38884"/>
                      <a:pt x="83608" y="38514"/>
                    </a:cubicBezTo>
                    <a:cubicBezTo>
                      <a:pt x="85529" y="38145"/>
                      <a:pt x="87230" y="39697"/>
                      <a:pt x="87230" y="41619"/>
                    </a:cubicBezTo>
                    <a:cubicBezTo>
                      <a:pt x="87230" y="43171"/>
                      <a:pt x="87230" y="44650"/>
                      <a:pt x="87230" y="46128"/>
                    </a:cubicBezTo>
                    <a:cubicBezTo>
                      <a:pt x="87230" y="64018"/>
                      <a:pt x="87156" y="81907"/>
                      <a:pt x="87304" y="99797"/>
                    </a:cubicBezTo>
                    <a:cubicBezTo>
                      <a:pt x="87304" y="107411"/>
                      <a:pt x="91074" y="110885"/>
                      <a:pt x="98393" y="110516"/>
                    </a:cubicBezTo>
                    <a:cubicBezTo>
                      <a:pt x="104528" y="110220"/>
                      <a:pt x="107189" y="106746"/>
                      <a:pt x="107189" y="98245"/>
                    </a:cubicBezTo>
                    <a:cubicBezTo>
                      <a:pt x="107263" y="76215"/>
                      <a:pt x="107263" y="54186"/>
                      <a:pt x="107189" y="32231"/>
                    </a:cubicBezTo>
                    <a:cubicBezTo>
                      <a:pt x="107337" y="14563"/>
                      <a:pt x="98319" y="2957"/>
                      <a:pt x="80577" y="1331"/>
                    </a:cubicBezTo>
                    <a:close/>
                  </a:path>
                </a:pathLst>
              </a:custGeom>
              <a:solidFill>
                <a:srgbClr val="747373"/>
              </a:solidFill>
              <a:ln w="7388" cap="flat">
                <a:noFill/>
                <a:prstDash val="solid"/>
                <a:miter/>
              </a:ln>
            </p:spPr>
            <p:txBody>
              <a:bodyPr rtlCol="0" anchor="ctr"/>
              <a:lstStyle/>
              <a:p>
                <a:endParaRPr lang="nl-NL" sz="5000"/>
              </a:p>
            </p:txBody>
          </p:sp>
          <p:sp>
            <p:nvSpPr>
              <p:cNvPr id="289" name="Graphic 114">
                <a:extLst>
                  <a:ext uri="{FF2B5EF4-FFF2-40B4-BE49-F238E27FC236}">
                    <a16:creationId xmlns:a16="http://schemas.microsoft.com/office/drawing/2014/main" id="{EB02CDF9-6EB8-1745-BADF-2D0031030E2D}"/>
                  </a:ext>
                </a:extLst>
              </p:cNvPr>
              <p:cNvSpPr/>
              <p:nvPr/>
            </p:nvSpPr>
            <p:spPr>
              <a:xfrm>
                <a:off x="10074505" y="5018760"/>
                <a:ext cx="44058" cy="44058"/>
              </a:xfrm>
              <a:custGeom>
                <a:avLst/>
                <a:gdLst>
                  <a:gd name="connsiteX0" fmla="*/ 44058 w 44058"/>
                  <a:gd name="connsiteY0" fmla="*/ 22029 h 44058"/>
                  <a:gd name="connsiteX1" fmla="*/ 22029 w 44058"/>
                  <a:gd name="connsiteY1" fmla="*/ 44058 h 44058"/>
                  <a:gd name="connsiteX2" fmla="*/ 0 w 44058"/>
                  <a:gd name="connsiteY2" fmla="*/ 22029 h 44058"/>
                  <a:gd name="connsiteX3" fmla="*/ 22029 w 44058"/>
                  <a:gd name="connsiteY3" fmla="*/ 0 h 44058"/>
                  <a:gd name="connsiteX4" fmla="*/ 44058 w 44058"/>
                  <a:gd name="connsiteY4" fmla="*/ 22029 h 44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8" h="44058">
                    <a:moveTo>
                      <a:pt x="44058" y="22029"/>
                    </a:moveTo>
                    <a:cubicBezTo>
                      <a:pt x="44058" y="34196"/>
                      <a:pt x="34195" y="44058"/>
                      <a:pt x="22029" y="44058"/>
                    </a:cubicBezTo>
                    <a:cubicBezTo>
                      <a:pt x="9863" y="44058"/>
                      <a:pt x="0" y="34196"/>
                      <a:pt x="0" y="22029"/>
                    </a:cubicBezTo>
                    <a:cubicBezTo>
                      <a:pt x="0" y="9863"/>
                      <a:pt x="9863" y="0"/>
                      <a:pt x="22029" y="0"/>
                    </a:cubicBezTo>
                    <a:cubicBezTo>
                      <a:pt x="34195" y="0"/>
                      <a:pt x="44058" y="9863"/>
                      <a:pt x="44058" y="22029"/>
                    </a:cubicBezTo>
                    <a:close/>
                  </a:path>
                </a:pathLst>
              </a:custGeom>
              <a:solidFill>
                <a:srgbClr val="747373"/>
              </a:solidFill>
              <a:ln w="7388" cap="flat">
                <a:noFill/>
                <a:prstDash val="solid"/>
                <a:miter/>
              </a:ln>
            </p:spPr>
            <p:txBody>
              <a:bodyPr rtlCol="0" anchor="ctr"/>
              <a:lstStyle/>
              <a:p>
                <a:endParaRPr lang="nl-NL" sz="5000"/>
              </a:p>
            </p:txBody>
          </p:sp>
        </p:grpSp>
      </p:grpSp>
      <p:sp>
        <p:nvSpPr>
          <p:cNvPr id="318" name="Tekstvak 317">
            <a:extLst>
              <a:ext uri="{FF2B5EF4-FFF2-40B4-BE49-F238E27FC236}">
                <a16:creationId xmlns:a16="http://schemas.microsoft.com/office/drawing/2014/main" id="{B91B0497-3DBD-0C43-A393-FD5861F2E6CB}"/>
              </a:ext>
            </a:extLst>
          </p:cNvPr>
          <p:cNvSpPr txBox="1"/>
          <p:nvPr/>
        </p:nvSpPr>
        <p:spPr>
          <a:xfrm>
            <a:off x="9285695" y="5642655"/>
            <a:ext cx="434734" cy="276999"/>
          </a:xfrm>
          <a:prstGeom prst="rect">
            <a:avLst/>
          </a:prstGeom>
          <a:noFill/>
        </p:spPr>
        <p:txBody>
          <a:bodyPr wrap="none" rtlCol="0">
            <a:spAutoFit/>
          </a:bodyPr>
          <a:lstStyle/>
          <a:p>
            <a:r>
              <a:rPr lang="nl-NL" sz="1200" dirty="0">
                <a:latin typeface="VAG Rounded Std Thin" panose="020F0402020204020204" pitchFamily="34" charset="0"/>
              </a:rPr>
              <a:t>ZZP</a:t>
            </a:r>
          </a:p>
        </p:txBody>
      </p:sp>
      <p:cxnSp>
        <p:nvCxnSpPr>
          <p:cNvPr id="319" name="Rechte verbindingslijn met pijl 318">
            <a:extLst>
              <a:ext uri="{FF2B5EF4-FFF2-40B4-BE49-F238E27FC236}">
                <a16:creationId xmlns:a16="http://schemas.microsoft.com/office/drawing/2014/main" id="{868C6299-FA96-BE4D-B369-547316FE7660}"/>
              </a:ext>
            </a:extLst>
          </p:cNvPr>
          <p:cNvCxnSpPr>
            <a:cxnSpLocks/>
            <a:stCxn id="206" idx="6"/>
          </p:cNvCxnSpPr>
          <p:nvPr/>
        </p:nvCxnSpPr>
        <p:spPr>
          <a:xfrm>
            <a:off x="5616835" y="4367468"/>
            <a:ext cx="2950213" cy="1347426"/>
          </a:xfrm>
          <a:prstGeom prst="straightConnector1">
            <a:avLst/>
          </a:prstGeom>
          <a:ln w="31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7" name="Pentagon 42">
            <a:extLst>
              <a:ext uri="{FF2B5EF4-FFF2-40B4-BE49-F238E27FC236}">
                <a16:creationId xmlns:a16="http://schemas.microsoft.com/office/drawing/2014/main" id="{EC1591B5-DE53-56B0-7EE1-83E6D357C59E}"/>
              </a:ext>
            </a:extLst>
          </p:cNvPr>
          <p:cNvSpPr/>
          <p:nvPr>
            <p:custDataLst>
              <p:tags r:id="rId1"/>
            </p:custDataLst>
          </p:nvPr>
        </p:nvSpPr>
        <p:spPr bwMode="gray">
          <a:xfrm>
            <a:off x="2972173" y="3288162"/>
            <a:ext cx="619490" cy="2172274"/>
          </a:xfrm>
          <a:prstGeom prst="homePlate">
            <a:avLst>
              <a:gd name="adj" fmla="val 13365"/>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93600" anchor="ctr" anchorCtr="0">
            <a:noAutofit/>
          </a:bodyPr>
          <a:lstStyle/>
          <a:p>
            <a:pPr algn="ctr" defTabSz="358776" rtl="0" fontAlgn="base">
              <a:spcBef>
                <a:spcPct val="0"/>
              </a:spcBef>
              <a:spcAft>
                <a:spcPct val="0"/>
              </a:spcAft>
              <a:defRPr/>
            </a:pPr>
            <a:r>
              <a:rPr lang="en-US" sz="1200" b="1" kern="1200" dirty="0">
                <a:solidFill>
                  <a:prstClr val="black"/>
                </a:solidFill>
                <a:latin typeface="VAG Rounded Std Thin" panose="020F0402020204020204" pitchFamily="34" charset="0"/>
                <a:cs typeface="Calibri" panose="020F0502020204030204" pitchFamily="34" charset="0"/>
              </a:rPr>
              <a:t>ATS </a:t>
            </a:r>
          </a:p>
          <a:p>
            <a:pPr algn="ctr" defTabSz="358776" rtl="0" fontAlgn="base">
              <a:spcBef>
                <a:spcPct val="0"/>
              </a:spcBef>
              <a:spcAft>
                <a:spcPct val="0"/>
              </a:spcAft>
              <a:defRPr/>
            </a:pPr>
            <a:r>
              <a:rPr lang="en-US" sz="1200" b="1" dirty="0">
                <a:solidFill>
                  <a:prstClr val="black"/>
                </a:solidFill>
                <a:latin typeface="VAG Rounded Std Thin" panose="020F0402020204020204" pitchFamily="34" charset="0"/>
                <a:cs typeface="Calibri" panose="020F0502020204030204" pitchFamily="34" charset="0"/>
              </a:rPr>
              <a:t>EMPLY</a:t>
            </a:r>
            <a:endParaRPr lang="en-US" sz="1200" b="1" kern="1200" dirty="0">
              <a:solidFill>
                <a:prstClr val="black"/>
              </a:solidFill>
              <a:latin typeface="VAG Rounded Std Thin" panose="020F0402020204020204" pitchFamily="34" charset="0"/>
              <a:cs typeface="Calibri" panose="020F0502020204030204" pitchFamily="34" charset="0"/>
            </a:endParaRPr>
          </a:p>
        </p:txBody>
      </p:sp>
      <p:cxnSp>
        <p:nvCxnSpPr>
          <p:cNvPr id="73" name="Rechte verbindingslijn met pijl 72">
            <a:extLst>
              <a:ext uri="{FF2B5EF4-FFF2-40B4-BE49-F238E27FC236}">
                <a16:creationId xmlns:a16="http://schemas.microsoft.com/office/drawing/2014/main" id="{16703361-5D75-CF53-6672-2BFA323AD220}"/>
              </a:ext>
            </a:extLst>
          </p:cNvPr>
          <p:cNvCxnSpPr>
            <a:cxnSpLocks/>
            <a:stCxn id="47" idx="3"/>
            <a:endCxn id="206" idx="2"/>
          </p:cNvCxnSpPr>
          <p:nvPr/>
        </p:nvCxnSpPr>
        <p:spPr>
          <a:xfrm flipV="1">
            <a:off x="3591663" y="4367468"/>
            <a:ext cx="1363176" cy="6831"/>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0" name="Ovaal 79">
            <a:extLst>
              <a:ext uri="{FF2B5EF4-FFF2-40B4-BE49-F238E27FC236}">
                <a16:creationId xmlns:a16="http://schemas.microsoft.com/office/drawing/2014/main" id="{9B420509-B519-FB1E-2675-1F50C8A74F2F}"/>
              </a:ext>
            </a:extLst>
          </p:cNvPr>
          <p:cNvSpPr/>
          <p:nvPr/>
        </p:nvSpPr>
        <p:spPr>
          <a:xfrm>
            <a:off x="7005918" y="4244121"/>
            <a:ext cx="506896" cy="35401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cxnSp>
        <p:nvCxnSpPr>
          <p:cNvPr id="87" name="Rechte verbindingslijn met pijl 86">
            <a:extLst>
              <a:ext uri="{FF2B5EF4-FFF2-40B4-BE49-F238E27FC236}">
                <a16:creationId xmlns:a16="http://schemas.microsoft.com/office/drawing/2014/main" id="{E18BF2CC-CEA4-1745-38D4-CF0C077A39B6}"/>
              </a:ext>
            </a:extLst>
          </p:cNvPr>
          <p:cNvCxnSpPr>
            <a:cxnSpLocks/>
            <a:stCxn id="203" idx="6"/>
          </p:cNvCxnSpPr>
          <p:nvPr/>
        </p:nvCxnSpPr>
        <p:spPr>
          <a:xfrm>
            <a:off x="7485507" y="5701221"/>
            <a:ext cx="1458321" cy="259977"/>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Rechte verbindingslijn met pijl 99">
            <a:extLst>
              <a:ext uri="{FF2B5EF4-FFF2-40B4-BE49-F238E27FC236}">
                <a16:creationId xmlns:a16="http://schemas.microsoft.com/office/drawing/2014/main" id="{8CFEFBDF-6090-6EBA-526C-9B76D7C6CDB9}"/>
              </a:ext>
            </a:extLst>
          </p:cNvPr>
          <p:cNvCxnSpPr>
            <a:cxnSpLocks/>
            <a:stCxn id="80" idx="6"/>
          </p:cNvCxnSpPr>
          <p:nvPr/>
        </p:nvCxnSpPr>
        <p:spPr>
          <a:xfrm>
            <a:off x="7512814" y="4421128"/>
            <a:ext cx="1469416" cy="219362"/>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itel 7"/>
          <p:cNvSpPr>
            <a:spLocks noGrp="1"/>
          </p:cNvSpPr>
          <p:nvPr>
            <p:ph type="title"/>
          </p:nvPr>
        </p:nvSpPr>
        <p:spPr>
          <a:xfrm>
            <a:off x="755520" y="622976"/>
            <a:ext cx="10944226" cy="606442"/>
          </a:xfrm>
        </p:spPr>
        <p:txBody>
          <a:bodyPr/>
          <a:lstStyle/>
          <a:p>
            <a:pPr algn="r"/>
            <a:br>
              <a:rPr lang="nl-NL" sz="1800" dirty="0">
                <a:solidFill>
                  <a:schemeClr val="accent1">
                    <a:lumMod val="50000"/>
                  </a:schemeClr>
                </a:solidFill>
                <a:latin typeface="+mn-lt"/>
              </a:rPr>
            </a:br>
            <a:endParaRPr lang="nl-NL" sz="1800" dirty="0">
              <a:latin typeface="+mn-lt"/>
            </a:endParaRPr>
          </a:p>
        </p:txBody>
      </p:sp>
      <p:sp>
        <p:nvSpPr>
          <p:cNvPr id="10" name="Tijdelijke aanduiding voor tekst 9"/>
          <p:cNvSpPr>
            <a:spLocks noGrp="1"/>
          </p:cNvSpPr>
          <p:nvPr>
            <p:ph type="body" idx="1"/>
          </p:nvPr>
        </p:nvSpPr>
        <p:spPr>
          <a:xfrm>
            <a:off x="481194" y="1448082"/>
            <a:ext cx="10944224" cy="318436"/>
          </a:xfrm>
        </p:spPr>
        <p:txBody>
          <a:bodyPr/>
          <a:lstStyle/>
          <a:p>
            <a:r>
              <a:rPr lang="nl-NL" sz="1800" b="0" dirty="0">
                <a:latin typeface="TheSans-Plain"/>
                <a:ea typeface="Verdana" panose="020B0604030504040204" pitchFamily="34" charset="0"/>
                <a:cs typeface="Verdana" panose="020B0604030504040204" pitchFamily="34" charset="0"/>
              </a:rPr>
              <a:t>Aanvragen voor externe inhuur schaal 8 en hoger worden uitgezet bij de Broker</a:t>
            </a:r>
          </a:p>
          <a:p>
            <a:endParaRPr lang="nl-NL" sz="1800" b="0" dirty="0">
              <a:latin typeface="TheSans-Plain"/>
              <a:ea typeface="Verdana" panose="020B0604030504040204" pitchFamily="34" charset="0"/>
              <a:cs typeface="Verdana" panose="020B0604030504040204" pitchFamily="34" charset="0"/>
            </a:endParaRPr>
          </a:p>
          <a:p>
            <a:endParaRPr lang="nl-NL" dirty="0"/>
          </a:p>
        </p:txBody>
      </p:sp>
      <p:sp>
        <p:nvSpPr>
          <p:cNvPr id="267" name="Tekstvak 266"/>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Doelstelling van deze Aanbesteding</a:t>
            </a:r>
          </a:p>
        </p:txBody>
      </p:sp>
    </p:spTree>
    <p:extLst>
      <p:ext uri="{BB962C8B-B14F-4D97-AF65-F5344CB8AC3E}">
        <p14:creationId xmlns:p14="http://schemas.microsoft.com/office/powerpoint/2010/main" val="4281718031"/>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4" name="Rechthoek 353">
            <a:extLst>
              <a:ext uri="{FF2B5EF4-FFF2-40B4-BE49-F238E27FC236}">
                <a16:creationId xmlns:a16="http://schemas.microsoft.com/office/drawing/2014/main" id="{11A3A154-E76C-6693-670D-C578B8966D0E}"/>
              </a:ext>
            </a:extLst>
          </p:cNvPr>
          <p:cNvSpPr/>
          <p:nvPr/>
        </p:nvSpPr>
        <p:spPr>
          <a:xfrm>
            <a:off x="6152624" y="2510598"/>
            <a:ext cx="4654193" cy="3610176"/>
          </a:xfrm>
          <a:prstGeom prst="rect">
            <a:avLst/>
          </a:prstGeom>
          <a:solidFill>
            <a:srgbClr val="FF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8" name="Rechthoek 267">
            <a:extLst>
              <a:ext uri="{FF2B5EF4-FFF2-40B4-BE49-F238E27FC236}">
                <a16:creationId xmlns:a16="http://schemas.microsoft.com/office/drawing/2014/main" id="{C1972475-F155-C799-6954-B0ADB2085583}"/>
              </a:ext>
            </a:extLst>
          </p:cNvPr>
          <p:cNvSpPr/>
          <p:nvPr/>
        </p:nvSpPr>
        <p:spPr>
          <a:xfrm>
            <a:off x="470858" y="2515103"/>
            <a:ext cx="4654193" cy="3610176"/>
          </a:xfrm>
          <a:prstGeom prst="rect">
            <a:avLst/>
          </a:prstGeom>
          <a:gradFill flip="none" rotWithShape="1">
            <a:gsLst>
              <a:gs pos="100000">
                <a:schemeClr val="accent2">
                  <a:alpha val="50000"/>
                </a:schemeClr>
              </a:gs>
              <a:gs pos="55000">
                <a:schemeClr val="accent6">
                  <a:lumMod val="45000"/>
                  <a:lumOff val="55000"/>
                  <a:alpha val="16000"/>
                </a:schemeClr>
              </a:gs>
              <a:gs pos="0">
                <a:schemeClr val="accent6">
                  <a:lumMod val="45000"/>
                  <a:lumOff val="55000"/>
                  <a:alpha val="50000"/>
                </a:schemeClr>
              </a:gs>
              <a:gs pos="100000">
                <a:schemeClr val="accent6">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2</a:t>
            </a:fld>
            <a:endParaRPr lang="nl-NL" sz="1000" dirty="0">
              <a:solidFill>
                <a:srgbClr val="000000"/>
              </a:solidFill>
              <a:latin typeface="VAG Rounded Std Thin" panose="020F0402020204020204" pitchFamily="34" charset="0"/>
              <a:cs typeface="Arial"/>
              <a:sym typeface="Arial"/>
              <a:rtl val="0"/>
            </a:endParaRPr>
          </a:p>
        </p:txBody>
      </p:sp>
      <p:sp>
        <p:nvSpPr>
          <p:cNvPr id="2" name="Proces 1">
            <a:extLst>
              <a:ext uri="{FF2B5EF4-FFF2-40B4-BE49-F238E27FC236}">
                <a16:creationId xmlns:a16="http://schemas.microsoft.com/office/drawing/2014/main" id="{10BD9B86-B1E2-2330-A47B-16A62C1F0721}"/>
              </a:ext>
            </a:extLst>
          </p:cNvPr>
          <p:cNvSpPr/>
          <p:nvPr/>
        </p:nvSpPr>
        <p:spPr>
          <a:xfrm>
            <a:off x="720602" y="1391462"/>
            <a:ext cx="940891"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Behoefte vacaturehouder</a:t>
            </a:r>
          </a:p>
        </p:txBody>
      </p:sp>
      <p:sp>
        <p:nvSpPr>
          <p:cNvPr id="8" name="Beslissing 7">
            <a:extLst>
              <a:ext uri="{FF2B5EF4-FFF2-40B4-BE49-F238E27FC236}">
                <a16:creationId xmlns:a16="http://schemas.microsoft.com/office/drawing/2014/main" id="{5291A2D4-4D44-BCE0-EE84-95DCABAA10CD}"/>
              </a:ext>
            </a:extLst>
          </p:cNvPr>
          <p:cNvSpPr/>
          <p:nvPr/>
        </p:nvSpPr>
        <p:spPr>
          <a:xfrm>
            <a:off x="757112" y="1877729"/>
            <a:ext cx="815421"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a:t>Vaste </a:t>
            </a:r>
            <a:r>
              <a:rPr lang="nl-NL" sz="600" dirty="0" err="1"/>
              <a:t>vaca-ture</a:t>
            </a:r>
            <a:r>
              <a:rPr lang="nl-NL" sz="600" dirty="0"/>
              <a:t>?</a:t>
            </a:r>
          </a:p>
        </p:txBody>
      </p:sp>
      <p:sp>
        <p:nvSpPr>
          <p:cNvPr id="10" name="Proces 9">
            <a:extLst>
              <a:ext uri="{FF2B5EF4-FFF2-40B4-BE49-F238E27FC236}">
                <a16:creationId xmlns:a16="http://schemas.microsoft.com/office/drawing/2014/main" id="{D735E666-65E0-A0A4-F5A8-0223CC48F0B5}"/>
              </a:ext>
            </a:extLst>
          </p:cNvPr>
          <p:cNvSpPr/>
          <p:nvPr/>
        </p:nvSpPr>
        <p:spPr>
          <a:xfrm>
            <a:off x="720602" y="2589126"/>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a:t>Uitzendbureau</a:t>
            </a:r>
            <a:endParaRPr lang="nl-NL" sz="800" dirty="0"/>
          </a:p>
        </p:txBody>
      </p:sp>
      <p:sp>
        <p:nvSpPr>
          <p:cNvPr id="11" name="Alternatief proces 10">
            <a:extLst>
              <a:ext uri="{FF2B5EF4-FFF2-40B4-BE49-F238E27FC236}">
                <a16:creationId xmlns:a16="http://schemas.microsoft.com/office/drawing/2014/main" id="{BC9B1C84-B192-207B-1D24-032D4D14F45E}"/>
              </a:ext>
            </a:extLst>
          </p:cNvPr>
          <p:cNvSpPr/>
          <p:nvPr/>
        </p:nvSpPr>
        <p:spPr>
          <a:xfrm>
            <a:off x="3965612" y="1877728"/>
            <a:ext cx="949296" cy="575731"/>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Recruitment</a:t>
            </a:r>
          </a:p>
        </p:txBody>
      </p:sp>
      <p:sp>
        <p:nvSpPr>
          <p:cNvPr id="13" name="Proces 12">
            <a:extLst>
              <a:ext uri="{FF2B5EF4-FFF2-40B4-BE49-F238E27FC236}">
                <a16:creationId xmlns:a16="http://schemas.microsoft.com/office/drawing/2014/main" id="{39C368D4-62A1-9D4A-B9C1-5C79B8EF48EC}"/>
              </a:ext>
            </a:extLst>
          </p:cNvPr>
          <p:cNvSpPr/>
          <p:nvPr/>
        </p:nvSpPr>
        <p:spPr>
          <a:xfrm>
            <a:off x="3996039" y="5380443"/>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Inzet</a:t>
            </a:r>
          </a:p>
        </p:txBody>
      </p:sp>
      <p:sp>
        <p:nvSpPr>
          <p:cNvPr id="16" name="Beslissing 15">
            <a:extLst>
              <a:ext uri="{FF2B5EF4-FFF2-40B4-BE49-F238E27FC236}">
                <a16:creationId xmlns:a16="http://schemas.microsoft.com/office/drawing/2014/main" id="{EA33CD42-0C1A-0FCD-4048-5225778F695B}"/>
              </a:ext>
            </a:extLst>
          </p:cNvPr>
          <p:cNvSpPr/>
          <p:nvPr/>
        </p:nvSpPr>
        <p:spPr>
          <a:xfrm>
            <a:off x="756685" y="3565877"/>
            <a:ext cx="815421"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err="1"/>
              <a:t>Kan-didaat</a:t>
            </a:r>
            <a:r>
              <a:rPr lang="nl-NL" sz="600" dirty="0"/>
              <a:t> </a:t>
            </a:r>
            <a:r>
              <a:rPr lang="nl-NL" sz="600" dirty="0" err="1"/>
              <a:t>bsb</a:t>
            </a:r>
            <a:endParaRPr lang="nl-NL" sz="600" dirty="0"/>
          </a:p>
        </p:txBody>
      </p:sp>
      <p:sp>
        <p:nvSpPr>
          <p:cNvPr id="27" name="Proces 26">
            <a:extLst>
              <a:ext uri="{FF2B5EF4-FFF2-40B4-BE49-F238E27FC236}">
                <a16:creationId xmlns:a16="http://schemas.microsoft.com/office/drawing/2014/main" id="{97400ED6-86D9-E408-8247-56A299A8C168}"/>
              </a:ext>
            </a:extLst>
          </p:cNvPr>
          <p:cNvSpPr/>
          <p:nvPr/>
        </p:nvSpPr>
        <p:spPr>
          <a:xfrm>
            <a:off x="1812129" y="3565876"/>
            <a:ext cx="888443" cy="575732"/>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Kandidaat voorstellen</a:t>
            </a:r>
          </a:p>
        </p:txBody>
      </p:sp>
      <p:sp>
        <p:nvSpPr>
          <p:cNvPr id="40" name="Beslissing 39">
            <a:extLst>
              <a:ext uri="{FF2B5EF4-FFF2-40B4-BE49-F238E27FC236}">
                <a16:creationId xmlns:a16="http://schemas.microsoft.com/office/drawing/2014/main" id="{6C362285-FBFB-26E4-4DD9-39BFD0D5E3E3}"/>
              </a:ext>
            </a:extLst>
          </p:cNvPr>
          <p:cNvSpPr/>
          <p:nvPr/>
        </p:nvSpPr>
        <p:spPr>
          <a:xfrm>
            <a:off x="2940595" y="3565877"/>
            <a:ext cx="888443"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err="1"/>
              <a:t>Kan-didaat</a:t>
            </a:r>
            <a:r>
              <a:rPr lang="nl-NL" sz="600" dirty="0"/>
              <a:t> geschikt?</a:t>
            </a:r>
          </a:p>
        </p:txBody>
      </p:sp>
      <p:sp>
        <p:nvSpPr>
          <p:cNvPr id="42" name="Voorbereiding 41">
            <a:extLst>
              <a:ext uri="{FF2B5EF4-FFF2-40B4-BE49-F238E27FC236}">
                <a16:creationId xmlns:a16="http://schemas.microsoft.com/office/drawing/2014/main" id="{54F1975A-05DC-8405-D9D1-4722C00E4F30}"/>
              </a:ext>
            </a:extLst>
          </p:cNvPr>
          <p:cNvSpPr/>
          <p:nvPr/>
        </p:nvSpPr>
        <p:spPr>
          <a:xfrm>
            <a:off x="625042" y="3074042"/>
            <a:ext cx="1078705" cy="354818"/>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Zoeken kandidaat</a:t>
            </a:r>
          </a:p>
        </p:txBody>
      </p:sp>
      <p:sp>
        <p:nvSpPr>
          <p:cNvPr id="43" name="Proces 42">
            <a:extLst>
              <a:ext uri="{FF2B5EF4-FFF2-40B4-BE49-F238E27FC236}">
                <a16:creationId xmlns:a16="http://schemas.microsoft.com/office/drawing/2014/main" id="{0DE932B4-DAC1-557A-08C9-22CB63CAC998}"/>
              </a:ext>
            </a:extLst>
          </p:cNvPr>
          <p:cNvSpPr/>
          <p:nvPr/>
        </p:nvSpPr>
        <p:spPr>
          <a:xfrm>
            <a:off x="721675" y="4284201"/>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Intermediair dienstverlener</a:t>
            </a:r>
          </a:p>
        </p:txBody>
      </p:sp>
      <p:sp>
        <p:nvSpPr>
          <p:cNvPr id="45" name="Beslissing 44">
            <a:extLst>
              <a:ext uri="{FF2B5EF4-FFF2-40B4-BE49-F238E27FC236}">
                <a16:creationId xmlns:a16="http://schemas.microsoft.com/office/drawing/2014/main" id="{AB76E450-89E7-B36B-D643-F2B585B637EF}"/>
              </a:ext>
            </a:extLst>
          </p:cNvPr>
          <p:cNvSpPr/>
          <p:nvPr/>
        </p:nvSpPr>
        <p:spPr>
          <a:xfrm>
            <a:off x="756685" y="5260952"/>
            <a:ext cx="815421"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a:t>Kan-didaat </a:t>
            </a:r>
            <a:r>
              <a:rPr lang="nl-NL" sz="600" dirty="0" err="1"/>
              <a:t>bsb</a:t>
            </a:r>
            <a:endParaRPr lang="nl-NL" sz="600" dirty="0"/>
          </a:p>
        </p:txBody>
      </p:sp>
      <p:sp>
        <p:nvSpPr>
          <p:cNvPr id="52" name="Beslissing 51">
            <a:extLst>
              <a:ext uri="{FF2B5EF4-FFF2-40B4-BE49-F238E27FC236}">
                <a16:creationId xmlns:a16="http://schemas.microsoft.com/office/drawing/2014/main" id="{33222AA0-0786-80CD-8A04-135BFD790E02}"/>
              </a:ext>
            </a:extLst>
          </p:cNvPr>
          <p:cNvSpPr/>
          <p:nvPr/>
        </p:nvSpPr>
        <p:spPr>
          <a:xfrm>
            <a:off x="2940595" y="5260951"/>
            <a:ext cx="887367"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err="1"/>
              <a:t>Kan-didaat</a:t>
            </a:r>
            <a:r>
              <a:rPr lang="nl-NL" sz="600" dirty="0"/>
              <a:t> geschikt?</a:t>
            </a:r>
          </a:p>
        </p:txBody>
      </p:sp>
      <p:sp>
        <p:nvSpPr>
          <p:cNvPr id="54" name="Tekstvak 53">
            <a:extLst>
              <a:ext uri="{FF2B5EF4-FFF2-40B4-BE49-F238E27FC236}">
                <a16:creationId xmlns:a16="http://schemas.microsoft.com/office/drawing/2014/main" id="{C7F35F02-117B-BD0F-E1CC-AD4834EC9CAF}"/>
              </a:ext>
            </a:extLst>
          </p:cNvPr>
          <p:cNvSpPr txBox="1"/>
          <p:nvPr/>
        </p:nvSpPr>
        <p:spPr>
          <a:xfrm>
            <a:off x="1495238" y="1927508"/>
            <a:ext cx="316891" cy="215444"/>
          </a:xfrm>
          <a:prstGeom prst="rect">
            <a:avLst/>
          </a:prstGeom>
          <a:noFill/>
        </p:spPr>
        <p:txBody>
          <a:bodyPr wrap="square" rtlCol="0">
            <a:spAutoFit/>
          </a:bodyPr>
          <a:lstStyle/>
          <a:p>
            <a:r>
              <a:rPr lang="nl-NL" sz="800" dirty="0"/>
              <a:t>Ja</a:t>
            </a:r>
          </a:p>
        </p:txBody>
      </p:sp>
      <p:sp>
        <p:nvSpPr>
          <p:cNvPr id="57" name="Tekstvak 56">
            <a:extLst>
              <a:ext uri="{FF2B5EF4-FFF2-40B4-BE49-F238E27FC236}">
                <a16:creationId xmlns:a16="http://schemas.microsoft.com/office/drawing/2014/main" id="{8460A92C-1DDC-D685-579E-57C5E7143586}"/>
              </a:ext>
            </a:extLst>
          </p:cNvPr>
          <p:cNvSpPr txBox="1"/>
          <p:nvPr/>
        </p:nvSpPr>
        <p:spPr>
          <a:xfrm>
            <a:off x="1216995" y="2338812"/>
            <a:ext cx="444498" cy="215444"/>
          </a:xfrm>
          <a:prstGeom prst="rect">
            <a:avLst/>
          </a:prstGeom>
          <a:noFill/>
        </p:spPr>
        <p:txBody>
          <a:bodyPr wrap="square" rtlCol="0">
            <a:spAutoFit/>
          </a:bodyPr>
          <a:lstStyle/>
          <a:p>
            <a:r>
              <a:rPr lang="nl-NL" sz="800" dirty="0"/>
              <a:t>Nee</a:t>
            </a:r>
          </a:p>
        </p:txBody>
      </p:sp>
      <p:cxnSp>
        <p:nvCxnSpPr>
          <p:cNvPr id="59" name="Gebogen verbindingslijn 58">
            <a:extLst>
              <a:ext uri="{FF2B5EF4-FFF2-40B4-BE49-F238E27FC236}">
                <a16:creationId xmlns:a16="http://schemas.microsoft.com/office/drawing/2014/main" id="{834F6226-DF04-DEEB-33C1-B73F814C3252}"/>
              </a:ext>
            </a:extLst>
          </p:cNvPr>
          <p:cNvCxnSpPr>
            <a:cxnSpLocks/>
            <a:stCxn id="2" idx="2"/>
            <a:endCxn id="8" idx="0"/>
          </p:cNvCxnSpPr>
          <p:nvPr/>
        </p:nvCxnSpPr>
        <p:spPr>
          <a:xfrm rot="5400000">
            <a:off x="1103177" y="1789858"/>
            <a:ext cx="149518" cy="262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Gebogen verbindingslijn 61">
            <a:extLst>
              <a:ext uri="{FF2B5EF4-FFF2-40B4-BE49-F238E27FC236}">
                <a16:creationId xmlns:a16="http://schemas.microsoft.com/office/drawing/2014/main" id="{44C455E9-76DE-A5FE-03D5-14A338305869}"/>
              </a:ext>
            </a:extLst>
          </p:cNvPr>
          <p:cNvCxnSpPr>
            <a:cxnSpLocks/>
            <a:stCxn id="8" idx="3"/>
            <a:endCxn id="11" idx="1"/>
          </p:cNvCxnSpPr>
          <p:nvPr/>
        </p:nvCxnSpPr>
        <p:spPr>
          <a:xfrm flipV="1">
            <a:off x="1572533" y="2165594"/>
            <a:ext cx="239307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Gebogen verbindingslijn 76">
            <a:extLst>
              <a:ext uri="{FF2B5EF4-FFF2-40B4-BE49-F238E27FC236}">
                <a16:creationId xmlns:a16="http://schemas.microsoft.com/office/drawing/2014/main" id="{D79AD3FE-C63C-1FAD-22D5-439E964ECBE6}"/>
              </a:ext>
            </a:extLst>
          </p:cNvPr>
          <p:cNvCxnSpPr>
            <a:cxnSpLocks/>
            <a:stCxn id="8" idx="2"/>
            <a:endCxn id="10" idx="0"/>
          </p:cNvCxnSpPr>
          <p:nvPr/>
        </p:nvCxnSpPr>
        <p:spPr>
          <a:xfrm rot="16200000" flipH="1">
            <a:off x="1096991" y="2521292"/>
            <a:ext cx="13566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Gebogen verbindingslijn 81">
            <a:extLst>
              <a:ext uri="{FF2B5EF4-FFF2-40B4-BE49-F238E27FC236}">
                <a16:creationId xmlns:a16="http://schemas.microsoft.com/office/drawing/2014/main" id="{2B55DF3A-5B65-EFF4-753F-EEC4661735AE}"/>
              </a:ext>
            </a:extLst>
          </p:cNvPr>
          <p:cNvCxnSpPr>
            <a:cxnSpLocks/>
          </p:cNvCxnSpPr>
          <p:nvPr/>
        </p:nvCxnSpPr>
        <p:spPr>
          <a:xfrm rot="16200000" flipH="1">
            <a:off x="1249391" y="2673692"/>
            <a:ext cx="13566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Gebogen verbindingslijn 82">
            <a:extLst>
              <a:ext uri="{FF2B5EF4-FFF2-40B4-BE49-F238E27FC236}">
                <a16:creationId xmlns:a16="http://schemas.microsoft.com/office/drawing/2014/main" id="{4CD482A9-04C5-2805-121B-0A7CC4F7B613}"/>
              </a:ext>
            </a:extLst>
          </p:cNvPr>
          <p:cNvCxnSpPr>
            <a:cxnSpLocks/>
            <a:stCxn id="10" idx="2"/>
            <a:endCxn id="42" idx="0"/>
          </p:cNvCxnSpPr>
          <p:nvPr/>
        </p:nvCxnSpPr>
        <p:spPr>
          <a:xfrm rot="5400000">
            <a:off x="1090527" y="2999744"/>
            <a:ext cx="148167" cy="4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Gebogen verbindingslijn 85">
            <a:extLst>
              <a:ext uri="{FF2B5EF4-FFF2-40B4-BE49-F238E27FC236}">
                <a16:creationId xmlns:a16="http://schemas.microsoft.com/office/drawing/2014/main" id="{489C0D75-339D-658F-8461-479101E220B8}"/>
              </a:ext>
            </a:extLst>
          </p:cNvPr>
          <p:cNvCxnSpPr>
            <a:cxnSpLocks/>
            <a:stCxn id="42" idx="2"/>
            <a:endCxn id="16" idx="0"/>
          </p:cNvCxnSpPr>
          <p:nvPr/>
        </p:nvCxnSpPr>
        <p:spPr>
          <a:xfrm rot="16200000" flipH="1">
            <a:off x="1095887" y="3497367"/>
            <a:ext cx="137017"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Gebogen verbindingslijn 89">
            <a:extLst>
              <a:ext uri="{FF2B5EF4-FFF2-40B4-BE49-F238E27FC236}">
                <a16:creationId xmlns:a16="http://schemas.microsoft.com/office/drawing/2014/main" id="{130D9306-807B-EB2E-4A6A-20020CE78140}"/>
              </a:ext>
            </a:extLst>
          </p:cNvPr>
          <p:cNvCxnSpPr>
            <a:cxnSpLocks/>
            <a:stCxn id="16" idx="2"/>
            <a:endCxn id="43" idx="0"/>
          </p:cNvCxnSpPr>
          <p:nvPr/>
        </p:nvCxnSpPr>
        <p:spPr>
          <a:xfrm rot="16200000" flipH="1">
            <a:off x="1093850" y="4212154"/>
            <a:ext cx="142592" cy="15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Gebogen verbindingslijn 92">
            <a:extLst>
              <a:ext uri="{FF2B5EF4-FFF2-40B4-BE49-F238E27FC236}">
                <a16:creationId xmlns:a16="http://schemas.microsoft.com/office/drawing/2014/main" id="{662E7E9B-07B4-713A-67AF-7A94C3EFD7C8}"/>
              </a:ext>
            </a:extLst>
          </p:cNvPr>
          <p:cNvCxnSpPr>
            <a:cxnSpLocks/>
            <a:stCxn id="43" idx="2"/>
          </p:cNvCxnSpPr>
          <p:nvPr/>
        </p:nvCxnSpPr>
        <p:spPr>
          <a:xfrm rot="5400000">
            <a:off x="1094064" y="4691709"/>
            <a:ext cx="142592" cy="10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Gebogen verbindingslijn 95">
            <a:extLst>
              <a:ext uri="{FF2B5EF4-FFF2-40B4-BE49-F238E27FC236}">
                <a16:creationId xmlns:a16="http://schemas.microsoft.com/office/drawing/2014/main" id="{34EBBCD2-1EF9-A92E-C3C4-F792B54015F5}"/>
              </a:ext>
            </a:extLst>
          </p:cNvPr>
          <p:cNvCxnSpPr>
            <a:cxnSpLocks/>
            <a:endCxn id="45" idx="0"/>
          </p:cNvCxnSpPr>
          <p:nvPr/>
        </p:nvCxnSpPr>
        <p:spPr>
          <a:xfrm rot="5400000">
            <a:off x="1093313" y="5189443"/>
            <a:ext cx="142592" cy="42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Gebogen verbindingslijn 98">
            <a:extLst>
              <a:ext uri="{FF2B5EF4-FFF2-40B4-BE49-F238E27FC236}">
                <a16:creationId xmlns:a16="http://schemas.microsoft.com/office/drawing/2014/main" id="{58E492CE-75AD-D4F2-F7E0-DB7846C52929}"/>
              </a:ext>
            </a:extLst>
          </p:cNvPr>
          <p:cNvCxnSpPr>
            <a:cxnSpLocks/>
            <a:stCxn id="16" idx="3"/>
            <a:endCxn id="27" idx="1"/>
          </p:cNvCxnSpPr>
          <p:nvPr/>
        </p:nvCxnSpPr>
        <p:spPr>
          <a:xfrm flipV="1">
            <a:off x="1572106" y="3853742"/>
            <a:ext cx="24002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72" name="Proces 171">
            <a:extLst>
              <a:ext uri="{FF2B5EF4-FFF2-40B4-BE49-F238E27FC236}">
                <a16:creationId xmlns:a16="http://schemas.microsoft.com/office/drawing/2014/main" id="{C4678AB6-3E2B-2DFB-BE6E-F5E413554E92}"/>
              </a:ext>
            </a:extLst>
          </p:cNvPr>
          <p:cNvSpPr/>
          <p:nvPr/>
        </p:nvSpPr>
        <p:spPr>
          <a:xfrm>
            <a:off x="1812128" y="5259595"/>
            <a:ext cx="888443" cy="575732"/>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Kandidaat voorstellen</a:t>
            </a:r>
          </a:p>
        </p:txBody>
      </p:sp>
      <p:cxnSp>
        <p:nvCxnSpPr>
          <p:cNvPr id="173" name="Gebogen verbindingslijn 172">
            <a:extLst>
              <a:ext uri="{FF2B5EF4-FFF2-40B4-BE49-F238E27FC236}">
                <a16:creationId xmlns:a16="http://schemas.microsoft.com/office/drawing/2014/main" id="{4C0BFB7D-F3FE-378E-FF86-EC78842525E5}"/>
              </a:ext>
            </a:extLst>
          </p:cNvPr>
          <p:cNvCxnSpPr>
            <a:cxnSpLocks/>
            <a:stCxn id="27" idx="3"/>
            <a:endCxn id="40" idx="1"/>
          </p:cNvCxnSpPr>
          <p:nvPr/>
        </p:nvCxnSpPr>
        <p:spPr>
          <a:xfrm>
            <a:off x="2700572" y="3853742"/>
            <a:ext cx="24002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6" name="Gebogen verbindingslijn 175">
            <a:extLst>
              <a:ext uri="{FF2B5EF4-FFF2-40B4-BE49-F238E27FC236}">
                <a16:creationId xmlns:a16="http://schemas.microsoft.com/office/drawing/2014/main" id="{F7DE362F-050E-9C34-E21E-2CE6BEB14A79}"/>
              </a:ext>
            </a:extLst>
          </p:cNvPr>
          <p:cNvCxnSpPr>
            <a:cxnSpLocks/>
            <a:stCxn id="40" idx="3"/>
            <a:endCxn id="13" idx="0"/>
          </p:cNvCxnSpPr>
          <p:nvPr/>
        </p:nvCxnSpPr>
        <p:spPr>
          <a:xfrm>
            <a:off x="3829038" y="3853743"/>
            <a:ext cx="611223" cy="15267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9" name="Gebogen verbindingslijn 178">
            <a:extLst>
              <a:ext uri="{FF2B5EF4-FFF2-40B4-BE49-F238E27FC236}">
                <a16:creationId xmlns:a16="http://schemas.microsoft.com/office/drawing/2014/main" id="{1C734C4C-A87B-33F6-648A-3BF1B08D13F1}"/>
              </a:ext>
            </a:extLst>
          </p:cNvPr>
          <p:cNvCxnSpPr>
            <a:cxnSpLocks/>
            <a:stCxn id="45" idx="3"/>
            <a:endCxn id="172" idx="1"/>
          </p:cNvCxnSpPr>
          <p:nvPr/>
        </p:nvCxnSpPr>
        <p:spPr>
          <a:xfrm flipV="1">
            <a:off x="1572106" y="5547461"/>
            <a:ext cx="240022" cy="13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5" name="Gebogen verbindingslijn 184">
            <a:extLst>
              <a:ext uri="{FF2B5EF4-FFF2-40B4-BE49-F238E27FC236}">
                <a16:creationId xmlns:a16="http://schemas.microsoft.com/office/drawing/2014/main" id="{64B839BC-D215-74CE-7C9D-145A8D243ED9}"/>
              </a:ext>
            </a:extLst>
          </p:cNvPr>
          <p:cNvCxnSpPr>
            <a:cxnSpLocks/>
            <a:stCxn id="52" idx="3"/>
            <a:endCxn id="13" idx="1"/>
          </p:cNvCxnSpPr>
          <p:nvPr/>
        </p:nvCxnSpPr>
        <p:spPr>
          <a:xfrm>
            <a:off x="3827962" y="5548817"/>
            <a:ext cx="168077"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4" name="Voorbereiding 193">
            <a:extLst>
              <a:ext uri="{FF2B5EF4-FFF2-40B4-BE49-F238E27FC236}">
                <a16:creationId xmlns:a16="http://schemas.microsoft.com/office/drawing/2014/main" id="{C1D5DD8B-D3EA-43B4-DC6E-968E51DB4210}"/>
              </a:ext>
            </a:extLst>
          </p:cNvPr>
          <p:cNvSpPr/>
          <p:nvPr/>
        </p:nvSpPr>
        <p:spPr>
          <a:xfrm>
            <a:off x="618704" y="4761523"/>
            <a:ext cx="1078705" cy="354818"/>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Zoeken kandidaat</a:t>
            </a:r>
          </a:p>
        </p:txBody>
      </p:sp>
      <p:cxnSp>
        <p:nvCxnSpPr>
          <p:cNvPr id="195" name="Gebogen verbindingslijn 194">
            <a:extLst>
              <a:ext uri="{FF2B5EF4-FFF2-40B4-BE49-F238E27FC236}">
                <a16:creationId xmlns:a16="http://schemas.microsoft.com/office/drawing/2014/main" id="{E3D0C3FB-FABD-78C4-3FC5-326350A2FAC1}"/>
              </a:ext>
            </a:extLst>
          </p:cNvPr>
          <p:cNvCxnSpPr>
            <a:cxnSpLocks/>
            <a:stCxn id="172" idx="3"/>
            <a:endCxn id="52" idx="1"/>
          </p:cNvCxnSpPr>
          <p:nvPr/>
        </p:nvCxnSpPr>
        <p:spPr>
          <a:xfrm>
            <a:off x="2700571" y="5547461"/>
            <a:ext cx="240024" cy="135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23" name="Proces 322">
            <a:extLst>
              <a:ext uri="{FF2B5EF4-FFF2-40B4-BE49-F238E27FC236}">
                <a16:creationId xmlns:a16="http://schemas.microsoft.com/office/drawing/2014/main" id="{B5383305-0F6D-6A05-BDB3-BF7EAC70B1A5}"/>
              </a:ext>
            </a:extLst>
          </p:cNvPr>
          <p:cNvSpPr/>
          <p:nvPr/>
        </p:nvSpPr>
        <p:spPr>
          <a:xfrm>
            <a:off x="6962744" y="1391462"/>
            <a:ext cx="895211"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Behoefte vacaturehouder</a:t>
            </a:r>
          </a:p>
        </p:txBody>
      </p:sp>
      <p:sp>
        <p:nvSpPr>
          <p:cNvPr id="325" name="Proces 324">
            <a:extLst>
              <a:ext uri="{FF2B5EF4-FFF2-40B4-BE49-F238E27FC236}">
                <a16:creationId xmlns:a16="http://schemas.microsoft.com/office/drawing/2014/main" id="{B89C9F62-AD45-B606-44E7-F1E9E629A6C0}"/>
              </a:ext>
            </a:extLst>
          </p:cNvPr>
          <p:cNvSpPr/>
          <p:nvPr/>
        </p:nvSpPr>
        <p:spPr>
          <a:xfrm>
            <a:off x="6296626" y="2589126"/>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a:t>Uitzendbureau</a:t>
            </a:r>
            <a:endParaRPr lang="nl-NL" sz="800" dirty="0"/>
          </a:p>
        </p:txBody>
      </p:sp>
      <p:sp>
        <p:nvSpPr>
          <p:cNvPr id="327" name="Proces 326">
            <a:extLst>
              <a:ext uri="{FF2B5EF4-FFF2-40B4-BE49-F238E27FC236}">
                <a16:creationId xmlns:a16="http://schemas.microsoft.com/office/drawing/2014/main" id="{395D11DB-4087-AB6C-5D5C-AD846414622C}"/>
              </a:ext>
            </a:extLst>
          </p:cNvPr>
          <p:cNvSpPr/>
          <p:nvPr/>
        </p:nvSpPr>
        <p:spPr>
          <a:xfrm>
            <a:off x="9918374" y="5085160"/>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Inzet</a:t>
            </a:r>
          </a:p>
        </p:txBody>
      </p:sp>
      <p:sp>
        <p:nvSpPr>
          <p:cNvPr id="328" name="Beslissing 327">
            <a:extLst>
              <a:ext uri="{FF2B5EF4-FFF2-40B4-BE49-F238E27FC236}">
                <a16:creationId xmlns:a16="http://schemas.microsoft.com/office/drawing/2014/main" id="{845483A1-6A0B-62C7-E187-C655292A348A}"/>
              </a:ext>
            </a:extLst>
          </p:cNvPr>
          <p:cNvSpPr/>
          <p:nvPr/>
        </p:nvSpPr>
        <p:spPr>
          <a:xfrm>
            <a:off x="7664300" y="3555831"/>
            <a:ext cx="815421" cy="57573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err="1"/>
              <a:t>Kan-didaat</a:t>
            </a:r>
            <a:r>
              <a:rPr lang="nl-NL" sz="600" dirty="0"/>
              <a:t> </a:t>
            </a:r>
            <a:r>
              <a:rPr lang="nl-NL" sz="600" dirty="0" err="1"/>
              <a:t>bsb</a:t>
            </a:r>
            <a:endParaRPr lang="nl-NL" sz="600" dirty="0"/>
          </a:p>
        </p:txBody>
      </p:sp>
      <p:sp>
        <p:nvSpPr>
          <p:cNvPr id="329" name="Proces 328">
            <a:extLst>
              <a:ext uri="{FF2B5EF4-FFF2-40B4-BE49-F238E27FC236}">
                <a16:creationId xmlns:a16="http://schemas.microsoft.com/office/drawing/2014/main" id="{AC226DEC-2661-0B99-15A4-C787320F4D20}"/>
              </a:ext>
            </a:extLst>
          </p:cNvPr>
          <p:cNvSpPr/>
          <p:nvPr/>
        </p:nvSpPr>
        <p:spPr>
          <a:xfrm>
            <a:off x="8726510" y="3549639"/>
            <a:ext cx="888443" cy="575732"/>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Kandidaat voorstellen</a:t>
            </a:r>
          </a:p>
        </p:txBody>
      </p:sp>
      <p:sp>
        <p:nvSpPr>
          <p:cNvPr id="330" name="Beslissing 329">
            <a:extLst>
              <a:ext uri="{FF2B5EF4-FFF2-40B4-BE49-F238E27FC236}">
                <a16:creationId xmlns:a16="http://schemas.microsoft.com/office/drawing/2014/main" id="{571CACC3-BA53-9415-642F-FCB18DF2F6D3}"/>
              </a:ext>
            </a:extLst>
          </p:cNvPr>
          <p:cNvSpPr/>
          <p:nvPr/>
        </p:nvSpPr>
        <p:spPr>
          <a:xfrm>
            <a:off x="9918374" y="3224564"/>
            <a:ext cx="888443" cy="586617"/>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600" dirty="0" err="1"/>
              <a:t>Kan-didaat</a:t>
            </a:r>
            <a:r>
              <a:rPr lang="nl-NL" sz="600" dirty="0"/>
              <a:t> geschikt?</a:t>
            </a:r>
          </a:p>
        </p:txBody>
      </p:sp>
      <p:sp>
        <p:nvSpPr>
          <p:cNvPr id="331" name="Voorbereiding 330">
            <a:extLst>
              <a:ext uri="{FF2B5EF4-FFF2-40B4-BE49-F238E27FC236}">
                <a16:creationId xmlns:a16="http://schemas.microsoft.com/office/drawing/2014/main" id="{39617706-4336-1E7A-FD02-AE5B40608020}"/>
              </a:ext>
            </a:extLst>
          </p:cNvPr>
          <p:cNvSpPr/>
          <p:nvPr/>
        </p:nvSpPr>
        <p:spPr>
          <a:xfrm>
            <a:off x="6201066" y="3074042"/>
            <a:ext cx="1078705" cy="354818"/>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Zoeken kandidaat</a:t>
            </a:r>
          </a:p>
        </p:txBody>
      </p:sp>
      <p:sp>
        <p:nvSpPr>
          <p:cNvPr id="332" name="Proces 331">
            <a:extLst>
              <a:ext uri="{FF2B5EF4-FFF2-40B4-BE49-F238E27FC236}">
                <a16:creationId xmlns:a16="http://schemas.microsoft.com/office/drawing/2014/main" id="{5D87C71B-6BA6-4D81-1E69-7CC1C92CF0C9}"/>
              </a:ext>
            </a:extLst>
          </p:cNvPr>
          <p:cNvSpPr/>
          <p:nvPr/>
        </p:nvSpPr>
        <p:spPr>
          <a:xfrm>
            <a:off x="7635630" y="2589125"/>
            <a:ext cx="888443" cy="33674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Intermediair dienstverlener</a:t>
            </a:r>
          </a:p>
        </p:txBody>
      </p:sp>
      <p:cxnSp>
        <p:nvCxnSpPr>
          <p:cNvPr id="340" name="Gebogen verbindingslijn 339">
            <a:extLst>
              <a:ext uri="{FF2B5EF4-FFF2-40B4-BE49-F238E27FC236}">
                <a16:creationId xmlns:a16="http://schemas.microsoft.com/office/drawing/2014/main" id="{29F263A4-ACD1-007C-826F-CF768A19244F}"/>
              </a:ext>
            </a:extLst>
          </p:cNvPr>
          <p:cNvCxnSpPr>
            <a:cxnSpLocks/>
          </p:cNvCxnSpPr>
          <p:nvPr/>
        </p:nvCxnSpPr>
        <p:spPr>
          <a:xfrm rot="16200000" flipH="1">
            <a:off x="6825415" y="2673692"/>
            <a:ext cx="13566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1" name="Gebogen verbindingslijn 340">
            <a:extLst>
              <a:ext uri="{FF2B5EF4-FFF2-40B4-BE49-F238E27FC236}">
                <a16:creationId xmlns:a16="http://schemas.microsoft.com/office/drawing/2014/main" id="{05A2B5AF-0D08-0ADD-409F-B66CA422B181}"/>
              </a:ext>
            </a:extLst>
          </p:cNvPr>
          <p:cNvCxnSpPr>
            <a:cxnSpLocks/>
            <a:stCxn id="325" idx="2"/>
            <a:endCxn id="331" idx="0"/>
          </p:cNvCxnSpPr>
          <p:nvPr/>
        </p:nvCxnSpPr>
        <p:spPr>
          <a:xfrm rot="5400000">
            <a:off x="6666551" y="2999744"/>
            <a:ext cx="148167" cy="4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2" name="Gebogen verbindingslijn 341">
            <a:extLst>
              <a:ext uri="{FF2B5EF4-FFF2-40B4-BE49-F238E27FC236}">
                <a16:creationId xmlns:a16="http://schemas.microsoft.com/office/drawing/2014/main" id="{8B911704-9D8E-F8A8-D0E6-FDB0136C0408}"/>
              </a:ext>
            </a:extLst>
          </p:cNvPr>
          <p:cNvCxnSpPr>
            <a:cxnSpLocks/>
            <a:stCxn id="331" idx="2"/>
            <a:endCxn id="328" idx="1"/>
          </p:cNvCxnSpPr>
          <p:nvPr/>
        </p:nvCxnSpPr>
        <p:spPr>
          <a:xfrm rot="16200000" flipH="1">
            <a:off x="6994941" y="3174337"/>
            <a:ext cx="414837" cy="92388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4" name="Gebogen verbindingslijn 343">
            <a:extLst>
              <a:ext uri="{FF2B5EF4-FFF2-40B4-BE49-F238E27FC236}">
                <a16:creationId xmlns:a16="http://schemas.microsoft.com/office/drawing/2014/main" id="{5D7815CE-3BC5-A080-A346-378B0045562E}"/>
              </a:ext>
            </a:extLst>
          </p:cNvPr>
          <p:cNvCxnSpPr>
            <a:cxnSpLocks/>
            <a:stCxn id="332" idx="2"/>
          </p:cNvCxnSpPr>
          <p:nvPr/>
        </p:nvCxnSpPr>
        <p:spPr>
          <a:xfrm rot="5400000">
            <a:off x="8008019" y="2996633"/>
            <a:ext cx="142592" cy="10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8" name="Gebogen verbindingslijn 347">
            <a:extLst>
              <a:ext uri="{FF2B5EF4-FFF2-40B4-BE49-F238E27FC236}">
                <a16:creationId xmlns:a16="http://schemas.microsoft.com/office/drawing/2014/main" id="{FF5D182A-ECF0-30C3-C5EB-4F68E1AD93BC}"/>
              </a:ext>
            </a:extLst>
          </p:cNvPr>
          <p:cNvCxnSpPr>
            <a:cxnSpLocks/>
            <a:stCxn id="329" idx="3"/>
          </p:cNvCxnSpPr>
          <p:nvPr/>
        </p:nvCxnSpPr>
        <p:spPr>
          <a:xfrm>
            <a:off x="9614953" y="3837505"/>
            <a:ext cx="240023" cy="7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52" name="Voorbereiding 351">
            <a:extLst>
              <a:ext uri="{FF2B5EF4-FFF2-40B4-BE49-F238E27FC236}">
                <a16:creationId xmlns:a16="http://schemas.microsoft.com/office/drawing/2014/main" id="{F6C1E0CC-33AB-9CC0-CBC4-70BD3DB841E8}"/>
              </a:ext>
            </a:extLst>
          </p:cNvPr>
          <p:cNvSpPr/>
          <p:nvPr/>
        </p:nvSpPr>
        <p:spPr>
          <a:xfrm>
            <a:off x="7532659" y="3066447"/>
            <a:ext cx="1078705" cy="354818"/>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t>Zoeken kandidaat</a:t>
            </a:r>
          </a:p>
        </p:txBody>
      </p:sp>
      <p:cxnSp>
        <p:nvCxnSpPr>
          <p:cNvPr id="371" name="Gebogen verbindingslijn 370">
            <a:extLst>
              <a:ext uri="{FF2B5EF4-FFF2-40B4-BE49-F238E27FC236}">
                <a16:creationId xmlns:a16="http://schemas.microsoft.com/office/drawing/2014/main" id="{485D9BBD-793B-5634-B1EF-3FDB79E25AD6}"/>
              </a:ext>
            </a:extLst>
          </p:cNvPr>
          <p:cNvCxnSpPr>
            <a:cxnSpLocks/>
            <a:stCxn id="352" idx="2"/>
            <a:endCxn id="328" idx="0"/>
          </p:cNvCxnSpPr>
          <p:nvPr/>
        </p:nvCxnSpPr>
        <p:spPr>
          <a:xfrm rot="5400000">
            <a:off x="8004729" y="3488548"/>
            <a:ext cx="13456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3" name="Rechte verbindingslijn met pijl 382">
            <a:extLst>
              <a:ext uri="{FF2B5EF4-FFF2-40B4-BE49-F238E27FC236}">
                <a16:creationId xmlns:a16="http://schemas.microsoft.com/office/drawing/2014/main" id="{C3DAACC2-6367-8042-645C-BA5484F6C680}"/>
              </a:ext>
            </a:extLst>
          </p:cNvPr>
          <p:cNvCxnSpPr>
            <a:cxnSpLocks/>
            <a:stCxn id="328" idx="3"/>
            <a:endCxn id="329" idx="1"/>
          </p:cNvCxnSpPr>
          <p:nvPr/>
        </p:nvCxnSpPr>
        <p:spPr>
          <a:xfrm flipV="1">
            <a:off x="8479721" y="3837505"/>
            <a:ext cx="246789" cy="6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6" name="Tekstvak 385">
            <a:extLst>
              <a:ext uri="{FF2B5EF4-FFF2-40B4-BE49-F238E27FC236}">
                <a16:creationId xmlns:a16="http://schemas.microsoft.com/office/drawing/2014/main" id="{996279E5-3858-F0F6-B945-8E4E59EEB259}"/>
              </a:ext>
            </a:extLst>
          </p:cNvPr>
          <p:cNvSpPr txBox="1"/>
          <p:nvPr/>
        </p:nvSpPr>
        <p:spPr>
          <a:xfrm>
            <a:off x="3759405" y="3594183"/>
            <a:ext cx="316891" cy="215444"/>
          </a:xfrm>
          <a:prstGeom prst="rect">
            <a:avLst/>
          </a:prstGeom>
          <a:noFill/>
        </p:spPr>
        <p:txBody>
          <a:bodyPr wrap="square" rtlCol="0">
            <a:spAutoFit/>
          </a:bodyPr>
          <a:lstStyle/>
          <a:p>
            <a:r>
              <a:rPr lang="nl-NL" sz="800" dirty="0"/>
              <a:t>Ja</a:t>
            </a:r>
          </a:p>
        </p:txBody>
      </p:sp>
      <p:sp>
        <p:nvSpPr>
          <p:cNvPr id="387" name="Tekstvak 386">
            <a:extLst>
              <a:ext uri="{FF2B5EF4-FFF2-40B4-BE49-F238E27FC236}">
                <a16:creationId xmlns:a16="http://schemas.microsoft.com/office/drawing/2014/main" id="{47509843-CEF5-F5EA-FD3E-0797C55EB616}"/>
              </a:ext>
            </a:extLst>
          </p:cNvPr>
          <p:cNvSpPr txBox="1"/>
          <p:nvPr/>
        </p:nvSpPr>
        <p:spPr>
          <a:xfrm>
            <a:off x="3387624" y="3374071"/>
            <a:ext cx="444498" cy="215444"/>
          </a:xfrm>
          <a:prstGeom prst="rect">
            <a:avLst/>
          </a:prstGeom>
          <a:noFill/>
        </p:spPr>
        <p:txBody>
          <a:bodyPr wrap="square" rtlCol="0">
            <a:spAutoFit/>
          </a:bodyPr>
          <a:lstStyle/>
          <a:p>
            <a:r>
              <a:rPr lang="nl-NL" sz="800" dirty="0"/>
              <a:t>Nee</a:t>
            </a:r>
          </a:p>
        </p:txBody>
      </p:sp>
      <p:cxnSp>
        <p:nvCxnSpPr>
          <p:cNvPr id="388" name="Gebogen verbindingslijn 387">
            <a:extLst>
              <a:ext uri="{FF2B5EF4-FFF2-40B4-BE49-F238E27FC236}">
                <a16:creationId xmlns:a16="http://schemas.microsoft.com/office/drawing/2014/main" id="{0AB7244B-F512-549B-9D9F-EF665BD1A357}"/>
              </a:ext>
            </a:extLst>
          </p:cNvPr>
          <p:cNvCxnSpPr>
            <a:cxnSpLocks/>
            <a:stCxn id="40" idx="0"/>
            <a:endCxn id="10" idx="3"/>
          </p:cNvCxnSpPr>
          <p:nvPr/>
        </p:nvCxnSpPr>
        <p:spPr>
          <a:xfrm rot="16200000" flipV="1">
            <a:off x="2092743" y="2273803"/>
            <a:ext cx="808376" cy="17757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91" name="Tekstvak 390">
            <a:extLst>
              <a:ext uri="{FF2B5EF4-FFF2-40B4-BE49-F238E27FC236}">
                <a16:creationId xmlns:a16="http://schemas.microsoft.com/office/drawing/2014/main" id="{673B3644-6EE9-2408-4F40-95A609CCD5DC}"/>
              </a:ext>
            </a:extLst>
          </p:cNvPr>
          <p:cNvSpPr txBox="1"/>
          <p:nvPr/>
        </p:nvSpPr>
        <p:spPr>
          <a:xfrm>
            <a:off x="3382462" y="5081934"/>
            <a:ext cx="444498" cy="215444"/>
          </a:xfrm>
          <a:prstGeom prst="rect">
            <a:avLst/>
          </a:prstGeom>
          <a:noFill/>
        </p:spPr>
        <p:txBody>
          <a:bodyPr wrap="square" rtlCol="0">
            <a:spAutoFit/>
          </a:bodyPr>
          <a:lstStyle/>
          <a:p>
            <a:r>
              <a:rPr lang="nl-NL" sz="800" dirty="0"/>
              <a:t>Nee</a:t>
            </a:r>
          </a:p>
        </p:txBody>
      </p:sp>
      <p:sp>
        <p:nvSpPr>
          <p:cNvPr id="392" name="Tekstvak 391">
            <a:extLst>
              <a:ext uri="{FF2B5EF4-FFF2-40B4-BE49-F238E27FC236}">
                <a16:creationId xmlns:a16="http://schemas.microsoft.com/office/drawing/2014/main" id="{E23410B9-8270-C043-3536-8DA26F9B32CF}"/>
              </a:ext>
            </a:extLst>
          </p:cNvPr>
          <p:cNvSpPr txBox="1"/>
          <p:nvPr/>
        </p:nvSpPr>
        <p:spPr>
          <a:xfrm>
            <a:off x="3795286" y="5314254"/>
            <a:ext cx="316891" cy="215444"/>
          </a:xfrm>
          <a:prstGeom prst="rect">
            <a:avLst/>
          </a:prstGeom>
          <a:noFill/>
        </p:spPr>
        <p:txBody>
          <a:bodyPr wrap="square" rtlCol="0">
            <a:spAutoFit/>
          </a:bodyPr>
          <a:lstStyle/>
          <a:p>
            <a:r>
              <a:rPr lang="nl-NL" sz="800" dirty="0"/>
              <a:t>Ja</a:t>
            </a:r>
          </a:p>
        </p:txBody>
      </p:sp>
      <p:cxnSp>
        <p:nvCxnSpPr>
          <p:cNvPr id="393" name="Gebogen verbindingslijn 392">
            <a:extLst>
              <a:ext uri="{FF2B5EF4-FFF2-40B4-BE49-F238E27FC236}">
                <a16:creationId xmlns:a16="http://schemas.microsoft.com/office/drawing/2014/main" id="{DE2D2A3D-A642-BFE6-6966-D3C705F11872}"/>
              </a:ext>
            </a:extLst>
          </p:cNvPr>
          <p:cNvCxnSpPr>
            <a:cxnSpLocks/>
            <a:stCxn id="52" idx="0"/>
            <a:endCxn id="43" idx="3"/>
          </p:cNvCxnSpPr>
          <p:nvPr/>
        </p:nvCxnSpPr>
        <p:spPr>
          <a:xfrm rot="16200000" flipV="1">
            <a:off x="2093012" y="3969683"/>
            <a:ext cx="808375" cy="177416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1" name="Rechte verbindingslijn met pijl 400">
            <a:extLst>
              <a:ext uri="{FF2B5EF4-FFF2-40B4-BE49-F238E27FC236}">
                <a16:creationId xmlns:a16="http://schemas.microsoft.com/office/drawing/2014/main" id="{72EA2B1E-C20E-FF59-BB1E-8FCAF4A66954}"/>
              </a:ext>
            </a:extLst>
          </p:cNvPr>
          <p:cNvCxnSpPr>
            <a:cxnSpLocks/>
          </p:cNvCxnSpPr>
          <p:nvPr/>
        </p:nvCxnSpPr>
        <p:spPr>
          <a:xfrm>
            <a:off x="10299198" y="4131562"/>
            <a:ext cx="0" cy="1273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4" name="Tekstvak 403">
            <a:extLst>
              <a:ext uri="{FF2B5EF4-FFF2-40B4-BE49-F238E27FC236}">
                <a16:creationId xmlns:a16="http://schemas.microsoft.com/office/drawing/2014/main" id="{10F6244B-9699-E8D6-C0FE-66565CE5C0E2}"/>
              </a:ext>
            </a:extLst>
          </p:cNvPr>
          <p:cNvSpPr txBox="1"/>
          <p:nvPr/>
        </p:nvSpPr>
        <p:spPr>
          <a:xfrm>
            <a:off x="10444174" y="3752091"/>
            <a:ext cx="316891" cy="215444"/>
          </a:xfrm>
          <a:prstGeom prst="rect">
            <a:avLst/>
          </a:prstGeom>
          <a:noFill/>
        </p:spPr>
        <p:txBody>
          <a:bodyPr wrap="square" rtlCol="0">
            <a:spAutoFit/>
          </a:bodyPr>
          <a:lstStyle/>
          <a:p>
            <a:r>
              <a:rPr lang="nl-NL" sz="800" dirty="0"/>
              <a:t>Ja</a:t>
            </a:r>
          </a:p>
        </p:txBody>
      </p:sp>
      <p:sp>
        <p:nvSpPr>
          <p:cNvPr id="405" name="Tekstvak 404">
            <a:extLst>
              <a:ext uri="{FF2B5EF4-FFF2-40B4-BE49-F238E27FC236}">
                <a16:creationId xmlns:a16="http://schemas.microsoft.com/office/drawing/2014/main" id="{FBD4D391-B744-82A8-E68C-7640706B2D91}"/>
              </a:ext>
            </a:extLst>
          </p:cNvPr>
          <p:cNvSpPr txBox="1"/>
          <p:nvPr/>
        </p:nvSpPr>
        <p:spPr>
          <a:xfrm>
            <a:off x="10380370" y="3058358"/>
            <a:ext cx="444498" cy="215444"/>
          </a:xfrm>
          <a:prstGeom prst="rect">
            <a:avLst/>
          </a:prstGeom>
          <a:noFill/>
        </p:spPr>
        <p:txBody>
          <a:bodyPr wrap="square" rtlCol="0">
            <a:spAutoFit/>
          </a:bodyPr>
          <a:lstStyle/>
          <a:p>
            <a:r>
              <a:rPr lang="nl-NL" sz="800" dirty="0"/>
              <a:t>Nee</a:t>
            </a:r>
          </a:p>
        </p:txBody>
      </p:sp>
      <p:cxnSp>
        <p:nvCxnSpPr>
          <p:cNvPr id="406" name="Gebogen verbindingslijn 405">
            <a:extLst>
              <a:ext uri="{FF2B5EF4-FFF2-40B4-BE49-F238E27FC236}">
                <a16:creationId xmlns:a16="http://schemas.microsoft.com/office/drawing/2014/main" id="{2B5E8700-7C35-D0D1-7A2F-2C4F5158686B}"/>
              </a:ext>
            </a:extLst>
          </p:cNvPr>
          <p:cNvCxnSpPr>
            <a:cxnSpLocks/>
            <a:endCxn id="325" idx="0"/>
          </p:cNvCxnSpPr>
          <p:nvPr/>
        </p:nvCxnSpPr>
        <p:spPr>
          <a:xfrm rot="16200000" flipV="1">
            <a:off x="8042114" y="1287861"/>
            <a:ext cx="955819" cy="3558350"/>
          </a:xfrm>
          <a:prstGeom prst="bentConnector3">
            <a:avLst>
              <a:gd name="adj1" fmla="val 12391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9" name="Gebogen verbindingslijn 408">
            <a:extLst>
              <a:ext uri="{FF2B5EF4-FFF2-40B4-BE49-F238E27FC236}">
                <a16:creationId xmlns:a16="http://schemas.microsoft.com/office/drawing/2014/main" id="{3350D6FE-1944-23EF-11AC-45EE861636C5}"/>
              </a:ext>
            </a:extLst>
          </p:cNvPr>
          <p:cNvCxnSpPr>
            <a:cxnSpLocks/>
            <a:endCxn id="332" idx="0"/>
          </p:cNvCxnSpPr>
          <p:nvPr/>
        </p:nvCxnSpPr>
        <p:spPr>
          <a:xfrm rot="16200000" flipV="1">
            <a:off x="8711615" y="1957362"/>
            <a:ext cx="955820" cy="2219346"/>
          </a:xfrm>
          <a:prstGeom prst="bentConnector3">
            <a:avLst>
              <a:gd name="adj1" fmla="val 12391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3" name="Gebogen verbindingslijn 412">
            <a:extLst>
              <a:ext uri="{FF2B5EF4-FFF2-40B4-BE49-F238E27FC236}">
                <a16:creationId xmlns:a16="http://schemas.microsoft.com/office/drawing/2014/main" id="{64680A74-EA3C-1EC1-EEF5-1E438415DFC9}"/>
              </a:ext>
            </a:extLst>
          </p:cNvPr>
          <p:cNvCxnSpPr>
            <a:cxnSpLocks/>
            <a:stCxn id="323" idx="2"/>
            <a:endCxn id="325" idx="0"/>
          </p:cNvCxnSpPr>
          <p:nvPr/>
        </p:nvCxnSpPr>
        <p:spPr>
          <a:xfrm rot="5400000">
            <a:off x="6645142" y="1823917"/>
            <a:ext cx="860915" cy="669502"/>
          </a:xfrm>
          <a:prstGeom prst="bentConnector3">
            <a:avLst>
              <a:gd name="adj1" fmla="val 7345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0" name="Gebogen verbindingslijn 419">
            <a:extLst>
              <a:ext uri="{FF2B5EF4-FFF2-40B4-BE49-F238E27FC236}">
                <a16:creationId xmlns:a16="http://schemas.microsoft.com/office/drawing/2014/main" id="{E31A7BE9-10B3-B29E-1FCA-79E7372D6FE1}"/>
              </a:ext>
            </a:extLst>
          </p:cNvPr>
          <p:cNvCxnSpPr>
            <a:cxnSpLocks/>
          </p:cNvCxnSpPr>
          <p:nvPr/>
        </p:nvCxnSpPr>
        <p:spPr>
          <a:xfrm rot="16200000" flipV="1">
            <a:off x="9776444" y="3022191"/>
            <a:ext cx="1045235" cy="27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28" name="Tekstvak 427">
            <a:extLst>
              <a:ext uri="{FF2B5EF4-FFF2-40B4-BE49-F238E27FC236}">
                <a16:creationId xmlns:a16="http://schemas.microsoft.com/office/drawing/2014/main" id="{CEEB9AF4-E771-6D13-A559-9E9F60FAB3B5}"/>
              </a:ext>
            </a:extLst>
          </p:cNvPr>
          <p:cNvSpPr txBox="1"/>
          <p:nvPr/>
        </p:nvSpPr>
        <p:spPr>
          <a:xfrm>
            <a:off x="344952" y="6085414"/>
            <a:ext cx="7037630" cy="738664"/>
          </a:xfrm>
          <a:prstGeom prst="rect">
            <a:avLst/>
          </a:prstGeom>
          <a:noFill/>
        </p:spPr>
        <p:txBody>
          <a:bodyPr wrap="square" rtlCol="0">
            <a:spAutoFit/>
          </a:bodyPr>
          <a:lstStyle/>
          <a:p>
            <a:pPr marL="28575">
              <a:buClr>
                <a:srgbClr val="E26207"/>
              </a:buClr>
            </a:pPr>
            <a:r>
              <a:rPr lang="nl-NL" sz="1050" dirty="0">
                <a:solidFill>
                  <a:schemeClr val="bg1"/>
                </a:solidFill>
                <a:latin typeface="TheSans-Plain"/>
              </a:rPr>
              <a:t>Reactietijd Uitzendbureau voor doorzending naar Intermediaire dienstverlener:</a:t>
            </a:r>
          </a:p>
          <a:p>
            <a:pPr marL="155575" indent="-127000">
              <a:buClr>
                <a:srgbClr val="E26207"/>
              </a:buClr>
              <a:buFont typeface="Arial" panose="020B0604020202020204" pitchFamily="34" charset="0"/>
              <a:buChar char="•"/>
            </a:pPr>
            <a:r>
              <a:rPr lang="nl-NL" sz="1050" dirty="0">
                <a:solidFill>
                  <a:srgbClr val="00B050"/>
                </a:solidFill>
                <a:latin typeface="VAG Rounded Std Thin" panose="020F0402020204020204" pitchFamily="34" charset="0"/>
              </a:rPr>
              <a:t>Groen</a:t>
            </a:r>
            <a:r>
              <a:rPr lang="nl-NL" sz="1050" dirty="0">
                <a:solidFill>
                  <a:schemeClr val="bg1"/>
                </a:solidFill>
                <a:latin typeface="TheSans-Plain"/>
              </a:rPr>
              <a:t>:</a:t>
            </a:r>
            <a:r>
              <a:rPr lang="nl-NL" sz="1050" dirty="0">
                <a:latin typeface="VAG Rounded Std Thin" panose="020F0402020204020204" pitchFamily="34" charset="0"/>
              </a:rPr>
              <a:t> </a:t>
            </a:r>
            <a:r>
              <a:rPr lang="nl-NL" sz="1050" dirty="0">
                <a:solidFill>
                  <a:schemeClr val="bg1"/>
                </a:solidFill>
                <a:latin typeface="TheSans-Plain"/>
              </a:rPr>
              <a:t>5</a:t>
            </a:r>
            <a:r>
              <a:rPr lang="nl-NL" sz="1050" dirty="0">
                <a:latin typeface="VAG Rounded Std Thin" panose="020F0402020204020204" pitchFamily="34" charset="0"/>
              </a:rPr>
              <a:t> </a:t>
            </a:r>
            <a:r>
              <a:rPr lang="nl-NL" sz="1050" dirty="0">
                <a:solidFill>
                  <a:schemeClr val="bg1"/>
                </a:solidFill>
                <a:latin typeface="TheSans-Plain"/>
              </a:rPr>
              <a:t>dagen</a:t>
            </a:r>
          </a:p>
          <a:p>
            <a:pPr marL="155575" indent="-127000">
              <a:buClr>
                <a:srgbClr val="E26207"/>
              </a:buClr>
              <a:buFont typeface="Arial" panose="020B0604020202020204" pitchFamily="34" charset="0"/>
              <a:buChar char="•"/>
            </a:pPr>
            <a:r>
              <a:rPr lang="nl-NL" sz="1050" dirty="0">
                <a:solidFill>
                  <a:schemeClr val="accent2"/>
                </a:solidFill>
                <a:latin typeface="VAG Rounded Std Thin" panose="020F0402020204020204" pitchFamily="34" charset="0"/>
              </a:rPr>
              <a:t>Oranje</a:t>
            </a:r>
            <a:r>
              <a:rPr lang="nl-NL" sz="1050" dirty="0">
                <a:solidFill>
                  <a:schemeClr val="bg1"/>
                </a:solidFill>
                <a:latin typeface="TheSans-Plain"/>
              </a:rPr>
              <a:t>:</a:t>
            </a:r>
            <a:r>
              <a:rPr lang="nl-NL" sz="1050" dirty="0">
                <a:latin typeface="VAG Rounded Std Thin" panose="020F0402020204020204" pitchFamily="34" charset="0"/>
              </a:rPr>
              <a:t> </a:t>
            </a:r>
            <a:r>
              <a:rPr lang="nl-NL" sz="1050" dirty="0">
                <a:solidFill>
                  <a:schemeClr val="bg1"/>
                </a:solidFill>
                <a:latin typeface="TheSans-Plain"/>
              </a:rPr>
              <a:t>2</a:t>
            </a:r>
            <a:r>
              <a:rPr lang="nl-NL" sz="1050" dirty="0">
                <a:latin typeface="VAG Rounded Std Thin" panose="020F0402020204020204" pitchFamily="34" charset="0"/>
              </a:rPr>
              <a:t> </a:t>
            </a:r>
            <a:r>
              <a:rPr lang="nl-NL" sz="1050" dirty="0">
                <a:solidFill>
                  <a:schemeClr val="bg1"/>
                </a:solidFill>
                <a:latin typeface="TheSans-Plain"/>
              </a:rPr>
              <a:t>dagen</a:t>
            </a:r>
          </a:p>
          <a:p>
            <a:pPr marL="155575" indent="-127000">
              <a:buClr>
                <a:srgbClr val="E26207"/>
              </a:buClr>
              <a:buFont typeface="Arial" panose="020B0604020202020204" pitchFamily="34" charset="0"/>
              <a:buChar char="•"/>
            </a:pPr>
            <a:r>
              <a:rPr lang="nl-NL" sz="1050" dirty="0">
                <a:solidFill>
                  <a:srgbClr val="FF0000"/>
                </a:solidFill>
                <a:latin typeface="VAG Rounded Std Thin" panose="020F0402020204020204" pitchFamily="34" charset="0"/>
              </a:rPr>
              <a:t>Rood</a:t>
            </a:r>
            <a:r>
              <a:rPr lang="nl-NL" sz="1050" dirty="0">
                <a:solidFill>
                  <a:schemeClr val="bg1"/>
                </a:solidFill>
                <a:latin typeface="TheSans-Plain"/>
              </a:rPr>
              <a:t>: direct</a:t>
            </a:r>
          </a:p>
        </p:txBody>
      </p:sp>
      <p:sp>
        <p:nvSpPr>
          <p:cNvPr id="12" name="Titel 11"/>
          <p:cNvSpPr>
            <a:spLocks noGrp="1"/>
          </p:cNvSpPr>
          <p:nvPr>
            <p:ph type="title"/>
          </p:nvPr>
        </p:nvSpPr>
        <p:spPr/>
        <p:txBody>
          <a:bodyPr/>
          <a:lstStyle/>
          <a:p>
            <a:endParaRPr lang="nl-NL"/>
          </a:p>
        </p:txBody>
      </p:sp>
      <p:sp>
        <p:nvSpPr>
          <p:cNvPr id="14" name="Tijdelijke aanduiding voor tekst 13"/>
          <p:cNvSpPr>
            <a:spLocks noGrp="1"/>
          </p:cNvSpPr>
          <p:nvPr>
            <p:ph type="body" idx="1"/>
          </p:nvPr>
        </p:nvSpPr>
        <p:spPr/>
        <p:txBody>
          <a:bodyPr/>
          <a:lstStyle/>
          <a:p>
            <a:endParaRPr lang="nl-NL"/>
          </a:p>
        </p:txBody>
      </p:sp>
      <p:sp>
        <p:nvSpPr>
          <p:cNvPr id="73" name="Tekstvak 72"/>
          <p:cNvSpPr txBox="1"/>
          <p:nvPr/>
        </p:nvSpPr>
        <p:spPr>
          <a:xfrm>
            <a:off x="6334298" y="428368"/>
            <a:ext cx="5487000" cy="276999"/>
          </a:xfrm>
          <a:prstGeom prst="rect">
            <a:avLst/>
          </a:prstGeom>
          <a:noFill/>
        </p:spPr>
        <p:txBody>
          <a:bodyPr wrap="square" lIns="0" tIns="0" rIns="0" bIns="0" rtlCol="0">
            <a:spAutoFit/>
          </a:bodyPr>
          <a:lstStyle/>
          <a:p>
            <a:pPr algn="r"/>
            <a:r>
              <a:rPr lang="nl-NL" b="1">
                <a:solidFill>
                  <a:schemeClr val="accent1">
                    <a:lumMod val="50000"/>
                  </a:schemeClr>
                </a:solidFill>
              </a:rPr>
              <a:t>Proces COA 2023 e.v.</a:t>
            </a:r>
          </a:p>
        </p:txBody>
      </p:sp>
    </p:spTree>
    <p:extLst>
      <p:ext uri="{BB962C8B-B14F-4D97-AF65-F5344CB8AC3E}">
        <p14:creationId xmlns:p14="http://schemas.microsoft.com/office/powerpoint/2010/main" val="1318135504"/>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3</a:t>
            </a:fld>
            <a:endParaRPr lang="nl-NL" sz="1000" dirty="0">
              <a:solidFill>
                <a:srgbClr val="000000"/>
              </a:solidFill>
              <a:latin typeface="VAG Rounded Std Thin" panose="020F0402020204020204" pitchFamily="34" charset="0"/>
              <a:cs typeface="Arial"/>
              <a:sym typeface="Arial"/>
              <a:rtl val="0"/>
            </a:endParaRPr>
          </a:p>
        </p:txBody>
      </p:sp>
      <p:sp>
        <p:nvSpPr>
          <p:cNvPr id="2" name="Titel 1"/>
          <p:cNvSpPr>
            <a:spLocks noGrp="1"/>
          </p:cNvSpPr>
          <p:nvPr>
            <p:ph type="title"/>
          </p:nvPr>
        </p:nvSpPr>
        <p:spPr>
          <a:xfrm>
            <a:off x="623887" y="1680630"/>
            <a:ext cx="6464976" cy="606442"/>
          </a:xfrm>
        </p:spPr>
        <p:txBody>
          <a:bodyPr/>
          <a:lstStyle/>
          <a:p>
            <a:endParaRPr lang="nl-NL" dirty="0"/>
          </a:p>
        </p:txBody>
      </p:sp>
      <p:sp>
        <p:nvSpPr>
          <p:cNvPr id="3" name="Tijdelijke aanduiding voor tekst 2"/>
          <p:cNvSpPr>
            <a:spLocks noGrp="1"/>
          </p:cNvSpPr>
          <p:nvPr>
            <p:ph type="body" idx="1"/>
          </p:nvPr>
        </p:nvSpPr>
        <p:spPr>
          <a:xfrm>
            <a:off x="623887" y="2466110"/>
            <a:ext cx="10944224" cy="318436"/>
          </a:xfrm>
        </p:spPr>
        <p:txBody>
          <a:bodyPr/>
          <a:lstStyle/>
          <a:p>
            <a:endParaRPr lang="nl-NL" dirty="0"/>
          </a:p>
        </p:txBody>
      </p:sp>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Gunningscriterium prijs  </a:t>
            </a:r>
          </a:p>
        </p:txBody>
      </p:sp>
      <p:pic>
        <p:nvPicPr>
          <p:cNvPr id="10" name="Afbeelding 9">
            <a:extLst>
              <a:ext uri="{FF2B5EF4-FFF2-40B4-BE49-F238E27FC236}">
                <a16:creationId xmlns:a16="http://schemas.microsoft.com/office/drawing/2014/main" id="{0722C6F8-4A5D-01B8-CAA4-0FEA1E748E38}"/>
              </a:ext>
            </a:extLst>
          </p:cNvPr>
          <p:cNvPicPr>
            <a:picLocks noChangeAspect="1"/>
          </p:cNvPicPr>
          <p:nvPr/>
        </p:nvPicPr>
        <p:blipFill>
          <a:blip r:embed="rId4"/>
          <a:stretch>
            <a:fillRect/>
          </a:stretch>
        </p:blipFill>
        <p:spPr>
          <a:xfrm>
            <a:off x="519976" y="1417025"/>
            <a:ext cx="7772400" cy="4985483"/>
          </a:xfrm>
          <a:prstGeom prst="rect">
            <a:avLst/>
          </a:prstGeom>
        </p:spPr>
      </p:pic>
    </p:spTree>
    <p:extLst>
      <p:ext uri="{BB962C8B-B14F-4D97-AF65-F5344CB8AC3E}">
        <p14:creationId xmlns:p14="http://schemas.microsoft.com/office/powerpoint/2010/main" val="1775584727"/>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4</a:t>
            </a:fld>
            <a:endParaRPr lang="nl-NL" sz="1000" dirty="0">
              <a:solidFill>
                <a:srgbClr val="000000"/>
              </a:solidFill>
              <a:latin typeface="VAG Rounded Std Thin" panose="020F0402020204020204" pitchFamily="34" charset="0"/>
              <a:cs typeface="Arial"/>
              <a:sym typeface="Arial"/>
              <a:rtl val="0"/>
            </a:endParaRPr>
          </a:p>
        </p:txBody>
      </p:sp>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Gunningscriterium prijs</a:t>
            </a:r>
          </a:p>
        </p:txBody>
      </p:sp>
      <p:pic>
        <p:nvPicPr>
          <p:cNvPr id="8" name="Afbeelding 7">
            <a:extLst>
              <a:ext uri="{FF2B5EF4-FFF2-40B4-BE49-F238E27FC236}">
                <a16:creationId xmlns:a16="http://schemas.microsoft.com/office/drawing/2014/main" id="{3443A3D9-32B6-751F-2A2F-87E6EBC66A3E}"/>
              </a:ext>
            </a:extLst>
          </p:cNvPr>
          <p:cNvPicPr>
            <a:picLocks noChangeAspect="1"/>
          </p:cNvPicPr>
          <p:nvPr/>
        </p:nvPicPr>
        <p:blipFill>
          <a:blip r:embed="rId4"/>
          <a:stretch>
            <a:fillRect/>
          </a:stretch>
        </p:blipFill>
        <p:spPr>
          <a:xfrm>
            <a:off x="577280" y="1373837"/>
            <a:ext cx="5903554" cy="5249541"/>
          </a:xfrm>
          <a:prstGeom prst="rect">
            <a:avLst/>
          </a:prstGeom>
          <a:solidFill>
            <a:schemeClr val="bg1"/>
          </a:solidFill>
        </p:spPr>
      </p:pic>
    </p:spTree>
    <p:extLst>
      <p:ext uri="{BB962C8B-B14F-4D97-AF65-F5344CB8AC3E}">
        <p14:creationId xmlns:p14="http://schemas.microsoft.com/office/powerpoint/2010/main" val="3000624516"/>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5</a:t>
            </a:fld>
            <a:endParaRPr lang="nl-NL" sz="1000" dirty="0">
              <a:solidFill>
                <a:srgbClr val="000000"/>
              </a:solidFill>
              <a:latin typeface="VAG Rounded Std Thin" panose="020F0402020204020204" pitchFamily="34" charset="0"/>
              <a:cs typeface="Arial"/>
              <a:sym typeface="Arial"/>
              <a:rtl val="0"/>
            </a:endParaRPr>
          </a:p>
        </p:txBody>
      </p:sp>
      <p:sp>
        <p:nvSpPr>
          <p:cNvPr id="12" name="Graphic 2">
            <a:extLst>
              <a:ext uri="{FF2B5EF4-FFF2-40B4-BE49-F238E27FC236}">
                <a16:creationId xmlns:a16="http://schemas.microsoft.com/office/drawing/2014/main" id="{F8AB02AD-416D-C47B-1EF1-4700636CBB6B}"/>
              </a:ext>
            </a:extLst>
          </p:cNvPr>
          <p:cNvSpPr txBox="1"/>
          <p:nvPr/>
        </p:nvSpPr>
        <p:spPr>
          <a:xfrm>
            <a:off x="534256" y="336035"/>
            <a:ext cx="10335684" cy="369332"/>
          </a:xfrm>
          <a:prstGeom prst="rect">
            <a:avLst/>
          </a:prstGeom>
          <a:noFill/>
        </p:spPr>
        <p:txBody>
          <a:bodyPr wrap="square" lIns="0" tIns="0" rIns="0" bIns="0" rtlCol="0">
            <a:spAutoFit/>
          </a:bodyPr>
          <a:lstStyle/>
          <a:p>
            <a:endParaRPr lang="nl-NL" sz="2400" b="1" dirty="0">
              <a:latin typeface="Verdana" panose="020B0604030504040204" pitchFamily="34" charset="0"/>
              <a:ea typeface="Verdana" panose="020B0604030504040204" pitchFamily="34" charset="0"/>
              <a:cs typeface="Verdana" panose="020B0604030504040204" pitchFamily="34" charset="0"/>
              <a:sym typeface="Arial"/>
              <a:rtl val="0"/>
            </a:endParaRPr>
          </a:p>
        </p:txBody>
      </p:sp>
      <p:sp>
        <p:nvSpPr>
          <p:cNvPr id="2" name="Titel 1"/>
          <p:cNvSpPr>
            <a:spLocks noGrp="1"/>
          </p:cNvSpPr>
          <p:nvPr>
            <p:ph type="title"/>
          </p:nvPr>
        </p:nvSpPr>
        <p:spPr/>
        <p:txBody>
          <a:bodyPr/>
          <a:lstStyle/>
          <a:p>
            <a:endParaRPr lang="nl-NL"/>
          </a:p>
        </p:txBody>
      </p:sp>
      <p:sp>
        <p:nvSpPr>
          <p:cNvPr id="8" name="Tijdelijke aanduiding voor tekst 7"/>
          <p:cNvSpPr>
            <a:spLocks noGrp="1"/>
          </p:cNvSpPr>
          <p:nvPr>
            <p:ph type="body" idx="1"/>
          </p:nvPr>
        </p:nvSpPr>
        <p:spPr/>
        <p:txBody>
          <a:bodyPr/>
          <a:lstStyle/>
          <a:p>
            <a:endParaRPr lang="nl-NL"/>
          </a:p>
        </p:txBody>
      </p:sp>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Bijlage J-1 Richtlijntarieven</a:t>
            </a:r>
          </a:p>
        </p:txBody>
      </p:sp>
      <p:sp>
        <p:nvSpPr>
          <p:cNvPr id="10" name="Rechthoek 9"/>
          <p:cNvSpPr/>
          <p:nvPr/>
        </p:nvSpPr>
        <p:spPr>
          <a:xfrm>
            <a:off x="8652032" y="2232384"/>
            <a:ext cx="3131683" cy="3170099"/>
          </a:xfrm>
          <a:prstGeom prst="rect">
            <a:avLst/>
          </a:prstGeom>
        </p:spPr>
        <p:txBody>
          <a:bodyPr wrap="square">
            <a:spAutoFit/>
          </a:bodyPr>
          <a:lstStyle/>
          <a:p>
            <a:pPr marL="285750" indent="-285750">
              <a:spcBef>
                <a:spcPts val="2400"/>
              </a:spcBef>
              <a:buClr>
                <a:schemeClr val="bg1"/>
              </a:buClr>
              <a:buFont typeface="Arial" panose="020B0604020202020204" pitchFamily="34" charset="0"/>
              <a:buChar char="•"/>
            </a:pPr>
            <a:r>
              <a:rPr lang="nl-NL">
                <a:solidFill>
                  <a:schemeClr val="bg1"/>
                </a:solidFill>
                <a:latin typeface="TheSans-Plain"/>
                <a:ea typeface="Verdana" panose="020B0604030504040204" pitchFamily="34" charset="0"/>
                <a:cs typeface="Verdana" panose="020B0604030504040204" pitchFamily="34" charset="0"/>
              </a:rPr>
              <a:t>Bij de Aanvraag in het betreffende inhuursegment wordt de schaal vermeld en het niveau in de schaal (begin-midden-eind)</a:t>
            </a:r>
          </a:p>
          <a:p>
            <a:pPr marL="285750" indent="-285750">
              <a:spcBef>
                <a:spcPts val="2400"/>
              </a:spcBef>
              <a:buClr>
                <a:schemeClr val="bg1"/>
              </a:buClr>
              <a:buFont typeface="Arial" panose="020B0604020202020204" pitchFamily="34" charset="0"/>
              <a:buChar char="•"/>
            </a:pPr>
            <a:r>
              <a:rPr lang="nl-NL">
                <a:solidFill>
                  <a:schemeClr val="bg1"/>
                </a:solidFill>
                <a:latin typeface="TheSans-Plain"/>
                <a:ea typeface="Verdana" panose="020B0604030504040204" pitchFamily="34" charset="0"/>
                <a:cs typeface="Verdana" panose="020B0604030504040204" pitchFamily="34" charset="0"/>
              </a:rPr>
              <a:t>Aan de hand van die elementen worden de minimale en maximale  Richtlijntarieven duidelijk.</a:t>
            </a:r>
            <a:endParaRPr lang="nl-NL" dirty="0">
              <a:solidFill>
                <a:schemeClr val="bg1"/>
              </a:solidFill>
              <a:latin typeface="TheSans-Plain"/>
              <a:ea typeface="Verdana" panose="020B0604030504040204" pitchFamily="34" charset="0"/>
              <a:cs typeface="Verdana" panose="020B0604030504040204" pitchFamily="34" charset="0"/>
            </a:endParaRPr>
          </a:p>
        </p:txBody>
      </p:sp>
      <p:pic>
        <p:nvPicPr>
          <p:cNvPr id="17" name="Afbeelding 16">
            <a:extLst>
              <a:ext uri="{FF2B5EF4-FFF2-40B4-BE49-F238E27FC236}">
                <a16:creationId xmlns:a16="http://schemas.microsoft.com/office/drawing/2014/main" id="{8DC316D4-6603-CC09-76AF-181147967C7C}"/>
              </a:ext>
            </a:extLst>
          </p:cNvPr>
          <p:cNvPicPr>
            <a:picLocks noChangeAspect="1"/>
          </p:cNvPicPr>
          <p:nvPr/>
        </p:nvPicPr>
        <p:blipFill>
          <a:blip r:embed="rId4"/>
          <a:stretch>
            <a:fillRect/>
          </a:stretch>
        </p:blipFill>
        <p:spPr>
          <a:xfrm>
            <a:off x="339019" y="1326127"/>
            <a:ext cx="7422495" cy="5450027"/>
          </a:xfrm>
          <a:prstGeom prst="rect">
            <a:avLst/>
          </a:prstGeom>
          <a:solidFill>
            <a:schemeClr val="bg1"/>
          </a:solidFill>
        </p:spPr>
      </p:pic>
    </p:spTree>
    <p:extLst>
      <p:ext uri="{BB962C8B-B14F-4D97-AF65-F5344CB8AC3E}">
        <p14:creationId xmlns:p14="http://schemas.microsoft.com/office/powerpoint/2010/main" val="2844201104"/>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6</a:t>
            </a:fld>
            <a:endParaRPr lang="nl-NL" sz="1000" dirty="0">
              <a:solidFill>
                <a:srgbClr val="000000"/>
              </a:solidFill>
              <a:latin typeface="VAG Rounded Std Thin" panose="020F0402020204020204" pitchFamily="34" charset="0"/>
              <a:cs typeface="Arial"/>
              <a:sym typeface="Arial"/>
              <a:rtl val="0"/>
            </a:endParaRPr>
          </a:p>
        </p:txBody>
      </p:sp>
      <p:sp>
        <p:nvSpPr>
          <p:cNvPr id="9" name="Tekstvak 8">
            <a:extLst>
              <a:ext uri="{FF2B5EF4-FFF2-40B4-BE49-F238E27FC236}">
                <a16:creationId xmlns:a16="http://schemas.microsoft.com/office/drawing/2014/main" id="{04BA36B9-BA1F-DE70-ACD6-49240E8918AF}"/>
              </a:ext>
            </a:extLst>
          </p:cNvPr>
          <p:cNvSpPr txBox="1"/>
          <p:nvPr/>
        </p:nvSpPr>
        <p:spPr>
          <a:xfrm>
            <a:off x="8292376" y="6578455"/>
            <a:ext cx="2145139" cy="538609"/>
          </a:xfrm>
          <a:prstGeom prst="rect">
            <a:avLst/>
          </a:prstGeom>
          <a:noFill/>
        </p:spPr>
        <p:txBody>
          <a:bodyPr wrap="none" rtlCol="0">
            <a:spAutoFit/>
          </a:bodyPr>
          <a:lstStyle/>
          <a:p>
            <a:r>
              <a:rPr lang="nl-NL" sz="1100" dirty="0">
                <a:solidFill>
                  <a:schemeClr val="tx1"/>
                </a:solidFill>
                <a:latin typeface="VAG Rounded Std Thin" panose="020F0402020204020204" pitchFamily="34" charset="0"/>
              </a:rPr>
              <a:t>©2023 </a:t>
            </a:r>
            <a:r>
              <a:rPr lang="nl-NL" sz="1100" dirty="0" err="1">
                <a:solidFill>
                  <a:schemeClr val="tx1"/>
                </a:solidFill>
                <a:latin typeface="VAG Rounded Std Thin" panose="020F0402020204020204" pitchFamily="34" charset="0"/>
              </a:rPr>
              <a:t>Labor</a:t>
            </a:r>
            <a:r>
              <a:rPr lang="nl-NL" sz="1100" dirty="0">
                <a:solidFill>
                  <a:schemeClr val="tx1"/>
                </a:solidFill>
                <a:latin typeface="VAG Rounded Std Thin" panose="020F0402020204020204" pitchFamily="34" charset="0"/>
              </a:rPr>
              <a:t> </a:t>
            </a:r>
            <a:r>
              <a:rPr lang="nl-NL" sz="1100" dirty="0" err="1">
                <a:solidFill>
                  <a:schemeClr val="tx1"/>
                </a:solidFill>
                <a:latin typeface="VAG Rounded Std Thin" panose="020F0402020204020204" pitchFamily="34" charset="0"/>
              </a:rPr>
              <a:t>Redimo</a:t>
            </a:r>
            <a:r>
              <a:rPr lang="nl-NL" sz="1100" dirty="0">
                <a:solidFill>
                  <a:schemeClr val="tx1"/>
                </a:solidFill>
                <a:latin typeface="VAG Rounded Std Thin" panose="020F0402020204020204" pitchFamily="34" charset="0"/>
              </a:rPr>
              <a:t>, Loosdrecht</a:t>
            </a:r>
            <a:endParaRPr lang="nl-NL" sz="1100" dirty="0"/>
          </a:p>
          <a:p>
            <a:endParaRPr lang="nl-NL" dirty="0"/>
          </a:p>
        </p:txBody>
      </p:sp>
      <p:pic>
        <p:nvPicPr>
          <p:cNvPr id="3" name="Afbeelding 2">
            <a:extLst>
              <a:ext uri="{FF2B5EF4-FFF2-40B4-BE49-F238E27FC236}">
                <a16:creationId xmlns:a16="http://schemas.microsoft.com/office/drawing/2014/main" id="{26FA91B9-6BE4-3F0D-498B-7AD825F8230A}"/>
              </a:ext>
            </a:extLst>
          </p:cNvPr>
          <p:cNvPicPr>
            <a:picLocks noChangeAspect="1"/>
          </p:cNvPicPr>
          <p:nvPr/>
        </p:nvPicPr>
        <p:blipFill>
          <a:blip r:embed="rId4"/>
          <a:stretch>
            <a:fillRect/>
          </a:stretch>
        </p:blipFill>
        <p:spPr>
          <a:xfrm>
            <a:off x="519819" y="1546861"/>
            <a:ext cx="9871267" cy="3933749"/>
          </a:xfrm>
          <a:prstGeom prst="rect">
            <a:avLst/>
          </a:prstGeom>
          <a:solidFill>
            <a:schemeClr val="bg1"/>
          </a:solidFill>
        </p:spPr>
      </p:pic>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Gunningscriterium prijs</a:t>
            </a:r>
          </a:p>
        </p:txBody>
      </p:sp>
      <p:sp>
        <p:nvSpPr>
          <p:cNvPr id="14" name="Rechthoek 13"/>
          <p:cNvSpPr/>
          <p:nvPr/>
        </p:nvSpPr>
        <p:spPr>
          <a:xfrm>
            <a:off x="623887" y="5576938"/>
            <a:ext cx="4518707" cy="892552"/>
          </a:xfrm>
          <a:prstGeom prst="rect">
            <a:avLst/>
          </a:prstGeom>
        </p:spPr>
        <p:txBody>
          <a:bodyPr wrap="square">
            <a:spAutoFit/>
          </a:bodyPr>
          <a:lstStyle/>
          <a:p>
            <a:pPr marL="285750" indent="-285750">
              <a:spcBef>
                <a:spcPts val="2400"/>
              </a:spcBef>
              <a:buClr>
                <a:schemeClr val="bg1"/>
              </a:buClr>
              <a:buFont typeface="Arial" panose="020B0604020202020204" pitchFamily="34" charset="0"/>
              <a:buChar char="•"/>
            </a:pPr>
            <a:r>
              <a:rPr lang="nl-NL" sz="1600" dirty="0">
                <a:solidFill>
                  <a:schemeClr val="bg1"/>
                </a:solidFill>
                <a:latin typeface="Verdana" panose="020B0604030504040204" pitchFamily="34" charset="0"/>
                <a:ea typeface="Verdana" panose="020B0604030504040204" pitchFamily="34" charset="0"/>
                <a:cs typeface="Verdana" panose="020B0604030504040204" pitchFamily="34" charset="0"/>
              </a:rPr>
              <a:t>Vul in de blauwe velden de Opslag in.</a:t>
            </a:r>
          </a:p>
          <a:p>
            <a:pPr marL="285750" indent="-285750">
              <a:spcBef>
                <a:spcPts val="2400"/>
              </a:spcBef>
              <a:buClr>
                <a:schemeClr val="bg1"/>
              </a:buClr>
              <a:buFont typeface="Arial" panose="020B0604020202020204" pitchFamily="34" charset="0"/>
              <a:buChar char="•"/>
            </a:pPr>
            <a:r>
              <a:rPr lang="nl-NL" sz="1600" dirty="0">
                <a:solidFill>
                  <a:schemeClr val="bg1"/>
                </a:solidFill>
                <a:latin typeface="Verdana" panose="020B0604030504040204" pitchFamily="34" charset="0"/>
                <a:ea typeface="Verdana" panose="020B0604030504040204" pitchFamily="34" charset="0"/>
                <a:cs typeface="Verdana" panose="020B0604030504040204" pitchFamily="34" charset="0"/>
              </a:rPr>
              <a:t>Hoogte van de Opslag is begrensd. </a:t>
            </a:r>
          </a:p>
        </p:txBody>
      </p:sp>
    </p:spTree>
    <p:extLst>
      <p:ext uri="{BB962C8B-B14F-4D97-AF65-F5344CB8AC3E}">
        <p14:creationId xmlns:p14="http://schemas.microsoft.com/office/powerpoint/2010/main" val="209151422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7</a:t>
            </a:fld>
            <a:endParaRPr lang="nl-NL" sz="1000" dirty="0">
              <a:solidFill>
                <a:srgbClr val="000000"/>
              </a:solidFill>
              <a:latin typeface="VAG Rounded Std Thin" panose="020F0402020204020204" pitchFamily="34" charset="0"/>
              <a:cs typeface="Arial"/>
              <a:sym typeface="Arial"/>
              <a:rtl val="0"/>
            </a:endParaRPr>
          </a:p>
        </p:txBody>
      </p:sp>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Gunningscriterium prijs </a:t>
            </a:r>
          </a:p>
        </p:txBody>
      </p:sp>
      <p:sp>
        <p:nvSpPr>
          <p:cNvPr id="14" name="Rechthoek 13"/>
          <p:cNvSpPr/>
          <p:nvPr/>
        </p:nvSpPr>
        <p:spPr>
          <a:xfrm>
            <a:off x="6671565" y="2407574"/>
            <a:ext cx="3022158" cy="923330"/>
          </a:xfrm>
          <a:prstGeom prst="rect">
            <a:avLst/>
          </a:prstGeom>
        </p:spPr>
        <p:txBody>
          <a:bodyPr wrap="square">
            <a:spAutoFit/>
          </a:bodyPr>
          <a:lstStyle/>
          <a:p>
            <a:pPr>
              <a:spcBef>
                <a:spcPts val="2400"/>
              </a:spcBef>
              <a:buClr>
                <a:schemeClr val="bg1"/>
              </a:buClr>
            </a:pPr>
            <a:r>
              <a:rPr lang="nl-NL" dirty="0">
                <a:solidFill>
                  <a:schemeClr val="bg1"/>
                </a:solidFill>
                <a:latin typeface="TheSans-Plain"/>
                <a:ea typeface="Verdana" panose="020B0604030504040204" pitchFamily="34" charset="0"/>
                <a:cs typeface="Verdana" panose="020B0604030504040204" pitchFamily="34" charset="0"/>
              </a:rPr>
              <a:t>Vul in de lichtblauwe velden - per inhuursegment - het doelstellingspercentage in.</a:t>
            </a:r>
          </a:p>
        </p:txBody>
      </p:sp>
      <p:pic>
        <p:nvPicPr>
          <p:cNvPr id="2" name="Afbeelding 1">
            <a:extLst>
              <a:ext uri="{FF2B5EF4-FFF2-40B4-BE49-F238E27FC236}">
                <a16:creationId xmlns:a16="http://schemas.microsoft.com/office/drawing/2014/main" id="{4C51D66E-71E9-22C3-9F98-6D3F123DAF5A}"/>
              </a:ext>
            </a:extLst>
          </p:cNvPr>
          <p:cNvPicPr>
            <a:picLocks noChangeAspect="1"/>
          </p:cNvPicPr>
          <p:nvPr/>
        </p:nvPicPr>
        <p:blipFill>
          <a:blip r:embed="rId4"/>
          <a:stretch>
            <a:fillRect/>
          </a:stretch>
        </p:blipFill>
        <p:spPr>
          <a:xfrm>
            <a:off x="947815" y="1329888"/>
            <a:ext cx="5026387" cy="5450033"/>
          </a:xfrm>
          <a:prstGeom prst="rect">
            <a:avLst/>
          </a:prstGeom>
          <a:solidFill>
            <a:schemeClr val="bg1"/>
          </a:solidFill>
        </p:spPr>
      </p:pic>
    </p:spTree>
    <p:extLst>
      <p:ext uri="{BB962C8B-B14F-4D97-AF65-F5344CB8AC3E}">
        <p14:creationId xmlns:p14="http://schemas.microsoft.com/office/powerpoint/2010/main" val="224326432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28</a:t>
            </a:fld>
            <a:endParaRPr lang="nl-NL" sz="1000" dirty="0">
              <a:solidFill>
                <a:srgbClr val="000000"/>
              </a:solidFill>
              <a:latin typeface="VAG Rounded Std Thin" panose="020F0402020204020204" pitchFamily="34" charset="0"/>
              <a:cs typeface="Arial"/>
              <a:sym typeface="Arial"/>
              <a:rtl val="0"/>
            </a:endParaRPr>
          </a:p>
        </p:txBody>
      </p:sp>
      <p:sp>
        <p:nvSpPr>
          <p:cNvPr id="13" name="Tekstvak 12"/>
          <p:cNvSpPr txBox="1"/>
          <p:nvPr/>
        </p:nvSpPr>
        <p:spPr>
          <a:xfrm>
            <a:off x="6334298" y="428368"/>
            <a:ext cx="5487000" cy="276999"/>
          </a:xfrm>
          <a:prstGeom prst="rect">
            <a:avLst/>
          </a:prstGeom>
          <a:noFill/>
        </p:spPr>
        <p:txBody>
          <a:bodyPr wrap="square" lIns="0" tIns="0" rIns="0" bIns="0" rtlCol="0">
            <a:spAutoFit/>
          </a:bodyPr>
          <a:lstStyle/>
          <a:p>
            <a:pPr algn="r"/>
            <a:r>
              <a:rPr lang="nl-NL" b="1" dirty="0">
                <a:solidFill>
                  <a:schemeClr val="accent1">
                    <a:lumMod val="50000"/>
                  </a:schemeClr>
                </a:solidFill>
              </a:rPr>
              <a:t>Gunningscriterium prijs </a:t>
            </a:r>
          </a:p>
        </p:txBody>
      </p:sp>
      <p:sp>
        <p:nvSpPr>
          <p:cNvPr id="14" name="Rechthoek 13"/>
          <p:cNvSpPr/>
          <p:nvPr/>
        </p:nvSpPr>
        <p:spPr>
          <a:xfrm>
            <a:off x="8761894" y="2080969"/>
            <a:ext cx="3022158" cy="369332"/>
          </a:xfrm>
          <a:prstGeom prst="rect">
            <a:avLst/>
          </a:prstGeom>
        </p:spPr>
        <p:txBody>
          <a:bodyPr wrap="square">
            <a:spAutoFit/>
          </a:bodyPr>
          <a:lstStyle/>
          <a:p>
            <a:pPr>
              <a:spcBef>
                <a:spcPts val="2400"/>
              </a:spcBef>
              <a:buClr>
                <a:schemeClr val="bg1"/>
              </a:buClr>
            </a:pPr>
            <a:r>
              <a:rPr lang="nl-NL" dirty="0">
                <a:solidFill>
                  <a:schemeClr val="bg1"/>
                </a:solidFill>
                <a:latin typeface="TheSans-Plain"/>
                <a:ea typeface="Verdana" panose="020B0604030504040204" pitchFamily="34" charset="0"/>
                <a:cs typeface="Verdana" panose="020B0604030504040204" pitchFamily="34" charset="0"/>
              </a:rPr>
              <a:t>Prijsscore is direct zichtbaar</a:t>
            </a:r>
          </a:p>
        </p:txBody>
      </p:sp>
      <p:pic>
        <p:nvPicPr>
          <p:cNvPr id="3" name="Afbeelding 2">
            <a:extLst>
              <a:ext uri="{FF2B5EF4-FFF2-40B4-BE49-F238E27FC236}">
                <a16:creationId xmlns:a16="http://schemas.microsoft.com/office/drawing/2014/main" id="{44634CF4-F956-7349-9659-4F67E02BB551}"/>
              </a:ext>
            </a:extLst>
          </p:cNvPr>
          <p:cNvPicPr>
            <a:picLocks noChangeAspect="1"/>
          </p:cNvPicPr>
          <p:nvPr/>
        </p:nvPicPr>
        <p:blipFill>
          <a:blip r:embed="rId4"/>
          <a:stretch>
            <a:fillRect/>
          </a:stretch>
        </p:blipFill>
        <p:spPr>
          <a:xfrm>
            <a:off x="577280" y="1305462"/>
            <a:ext cx="6984781" cy="5272993"/>
          </a:xfrm>
          <a:prstGeom prst="rect">
            <a:avLst/>
          </a:prstGeom>
          <a:solidFill>
            <a:schemeClr val="bg1"/>
          </a:solidFill>
        </p:spPr>
      </p:pic>
    </p:spTree>
    <p:extLst>
      <p:ext uri="{BB962C8B-B14F-4D97-AF65-F5344CB8AC3E}">
        <p14:creationId xmlns:p14="http://schemas.microsoft.com/office/powerpoint/2010/main" val="594092439"/>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3ECECE0-7AA6-4343-A0F5-C780540AE73E}"/>
              </a:ext>
            </a:extLst>
          </p:cNvPr>
          <p:cNvSpPr>
            <a:spLocks noGrp="1"/>
          </p:cNvSpPr>
          <p:nvPr>
            <p:ph type="title"/>
          </p:nvPr>
        </p:nvSpPr>
        <p:spPr/>
        <p:txBody>
          <a:bodyPr/>
          <a:lstStyle/>
          <a:p>
            <a:r>
              <a:rPr lang="nl-NL" dirty="0"/>
              <a:t>Dank voor uw aandacht</a:t>
            </a:r>
          </a:p>
        </p:txBody>
      </p:sp>
      <p:sp>
        <p:nvSpPr>
          <p:cNvPr id="8" name="Tijdelijke aanduiding voor tekst 7">
            <a:extLst>
              <a:ext uri="{FF2B5EF4-FFF2-40B4-BE49-F238E27FC236}">
                <a16:creationId xmlns:a16="http://schemas.microsoft.com/office/drawing/2014/main" id="{3566E0F7-7F63-41FC-AC62-7D1ADEE223F4}"/>
              </a:ext>
            </a:extLst>
          </p:cNvPr>
          <p:cNvSpPr>
            <a:spLocks noGrp="1"/>
          </p:cNvSpPr>
          <p:nvPr>
            <p:ph type="body" sz="quarter" idx="13"/>
          </p:nvPr>
        </p:nvSpPr>
        <p:spPr/>
        <p:txBody>
          <a:bodyPr/>
          <a:lstStyle/>
          <a:p>
            <a:r>
              <a:rPr lang="nl-NL" dirty="0"/>
              <a:t>Zijn er vragen?</a:t>
            </a:r>
          </a:p>
        </p:txBody>
      </p:sp>
      <p:pic>
        <p:nvPicPr>
          <p:cNvPr id="11" name="Tijdelijke aanduiding voor afbeelding 10" descr="Afbeelding met buiten, weg, gebouw, gras&#10;&#10;Automatisch gegenereerde beschrijving">
            <a:extLst>
              <a:ext uri="{FF2B5EF4-FFF2-40B4-BE49-F238E27FC236}">
                <a16:creationId xmlns:a16="http://schemas.microsoft.com/office/drawing/2014/main" id="{A8FBA0E2-8946-430B-B27F-FE94D7A5C23D}"/>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t="20568" b="20568"/>
          <a:stretch>
            <a:fillRect/>
          </a:stretch>
        </p:blipFill>
        <p:spPr/>
      </p:pic>
    </p:spTree>
    <p:extLst>
      <p:ext uri="{BB962C8B-B14F-4D97-AF65-F5344CB8AC3E}">
        <p14:creationId xmlns:p14="http://schemas.microsoft.com/office/powerpoint/2010/main" val="1079500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p:cNvSpPr txBox="1"/>
          <p:nvPr/>
        </p:nvSpPr>
        <p:spPr>
          <a:xfrm>
            <a:off x="518984" y="1639330"/>
            <a:ext cx="11121081" cy="5816977"/>
          </a:xfrm>
          <a:prstGeom prst="rect">
            <a:avLst/>
          </a:prstGeom>
          <a:noFill/>
        </p:spPr>
        <p:txBody>
          <a:bodyPr wrap="square" lIns="0" tIns="0" rIns="0" bIns="0" rtlCol="0">
            <a:spAutoFit/>
          </a:bodyPr>
          <a:lstStyle/>
          <a:p>
            <a:pPr algn="l"/>
            <a:r>
              <a:rPr lang="nl-NL" b="1" u="sng" dirty="0">
                <a:solidFill>
                  <a:schemeClr val="bg1"/>
                </a:solidFill>
              </a:rPr>
              <a:t>Inhoudsopgave</a:t>
            </a:r>
          </a:p>
          <a:p>
            <a:pPr algn="l"/>
            <a:endParaRPr lang="nl-NL" dirty="0">
              <a:solidFill>
                <a:schemeClr val="bg1"/>
              </a:solidFill>
            </a:endParaRPr>
          </a:p>
          <a:p>
            <a:pPr marL="285750" indent="-285750" algn="l">
              <a:buFont typeface="Arial" panose="020B0604020202020204" pitchFamily="34" charset="0"/>
              <a:buChar char="•"/>
            </a:pPr>
            <a:r>
              <a:rPr lang="nl-NL" dirty="0">
                <a:solidFill>
                  <a:schemeClr val="bg1"/>
                </a:solidFill>
              </a:rPr>
              <a:t>Wet </a:t>
            </a:r>
            <a:r>
              <a:rPr lang="nl-NL" dirty="0" err="1">
                <a:solidFill>
                  <a:schemeClr val="bg1"/>
                </a:solidFill>
              </a:rPr>
              <a:t>Coa</a:t>
            </a:r>
            <a:endParaRPr lang="nl-NL" dirty="0">
              <a:solidFill>
                <a:schemeClr val="bg1"/>
              </a:solidFill>
            </a:endParaRPr>
          </a:p>
          <a:p>
            <a:pPr marL="285750" indent="-285750" algn="l">
              <a:buFont typeface="Arial" panose="020B0604020202020204" pitchFamily="34" charset="0"/>
              <a:buChar char="•"/>
            </a:pPr>
            <a:r>
              <a:rPr lang="nl-NL" dirty="0">
                <a:solidFill>
                  <a:schemeClr val="bg1"/>
                </a:solidFill>
              </a:rPr>
              <a:t>Missie en Visie</a:t>
            </a:r>
          </a:p>
          <a:p>
            <a:pPr marL="285750" indent="-285750" algn="l">
              <a:buFont typeface="Arial" panose="020B0604020202020204" pitchFamily="34" charset="0"/>
              <a:buChar char="•"/>
            </a:pPr>
            <a:r>
              <a:rPr lang="nl-NL" dirty="0">
                <a:solidFill>
                  <a:schemeClr val="bg1"/>
                </a:solidFill>
              </a:rPr>
              <a:t>Kernwaarden</a:t>
            </a:r>
          </a:p>
          <a:p>
            <a:pPr marL="285750" indent="-285750">
              <a:buFont typeface="Arial" panose="020B0604020202020204" pitchFamily="34" charset="0"/>
              <a:buChar char="•"/>
            </a:pPr>
            <a:r>
              <a:rPr lang="nl-NL" dirty="0" err="1">
                <a:solidFill>
                  <a:schemeClr val="bg1"/>
                </a:solidFill>
              </a:rPr>
              <a:t>Coa</a:t>
            </a:r>
            <a:r>
              <a:rPr lang="nl-NL" dirty="0">
                <a:solidFill>
                  <a:schemeClr val="bg1"/>
                </a:solidFill>
              </a:rPr>
              <a:t> jaarplan</a:t>
            </a:r>
          </a:p>
          <a:p>
            <a:pPr marL="285750" indent="-285750">
              <a:buFont typeface="Arial" panose="020B0604020202020204" pitchFamily="34" charset="0"/>
              <a:buChar char="•"/>
            </a:pPr>
            <a:r>
              <a:rPr lang="nl-NL" dirty="0" err="1">
                <a:solidFill>
                  <a:schemeClr val="bg1"/>
                </a:solidFill>
              </a:rPr>
              <a:t>Meerjarenstrategie</a:t>
            </a:r>
            <a:endParaRPr lang="nl-NL" dirty="0">
              <a:solidFill>
                <a:schemeClr val="bg1"/>
              </a:solidFill>
            </a:endParaRPr>
          </a:p>
          <a:p>
            <a:pPr marL="285750" indent="-285750" algn="l">
              <a:buFont typeface="Arial" panose="020B0604020202020204" pitchFamily="34" charset="0"/>
              <a:buChar char="•"/>
            </a:pPr>
            <a:r>
              <a:rPr lang="nl-NL" dirty="0">
                <a:solidFill>
                  <a:schemeClr val="bg1"/>
                </a:solidFill>
              </a:rPr>
              <a:t>Organogram </a:t>
            </a:r>
            <a:r>
              <a:rPr lang="nl-NL" dirty="0" err="1">
                <a:solidFill>
                  <a:schemeClr val="bg1"/>
                </a:solidFill>
              </a:rPr>
              <a:t>Coa</a:t>
            </a:r>
            <a:endParaRPr lang="nl-NL" dirty="0">
              <a:solidFill>
                <a:schemeClr val="bg1"/>
              </a:solidFill>
            </a:endParaRPr>
          </a:p>
          <a:p>
            <a:pPr marL="285750" indent="-285750" algn="l">
              <a:buFont typeface="Arial" panose="020B0604020202020204" pitchFamily="34" charset="0"/>
              <a:buChar char="•"/>
            </a:pPr>
            <a:r>
              <a:rPr lang="nl-NL" dirty="0">
                <a:solidFill>
                  <a:schemeClr val="bg1"/>
                </a:solidFill>
              </a:rPr>
              <a:t>Inzicht ontwikkeling capaciteitsbehoefte</a:t>
            </a:r>
          </a:p>
          <a:p>
            <a:pPr marL="285750" indent="-285750" algn="l">
              <a:buFont typeface="Arial" panose="020B0604020202020204" pitchFamily="34" charset="0"/>
              <a:buChar char="•"/>
            </a:pPr>
            <a:r>
              <a:rPr lang="nl-NL" dirty="0">
                <a:solidFill>
                  <a:schemeClr val="bg1"/>
                </a:solidFill>
              </a:rPr>
              <a:t>Inzicht ontwikkeling aantal bewoners en locaties</a:t>
            </a:r>
          </a:p>
          <a:p>
            <a:pPr marL="285750" indent="-285750" algn="l">
              <a:buFont typeface="Arial" panose="020B0604020202020204" pitchFamily="34" charset="0"/>
              <a:buChar char="•"/>
            </a:pPr>
            <a:r>
              <a:rPr lang="nl-NL" dirty="0">
                <a:solidFill>
                  <a:schemeClr val="bg1"/>
                </a:solidFill>
              </a:rPr>
              <a:t>Inzicht in ontwikkeling aantal medewerkers</a:t>
            </a:r>
          </a:p>
          <a:p>
            <a:pPr marL="285750" indent="-285750">
              <a:buFont typeface="Arial" panose="020B0604020202020204" pitchFamily="34" charset="0"/>
              <a:buChar char="•"/>
            </a:pPr>
            <a:r>
              <a:rPr lang="nl-NL" dirty="0">
                <a:solidFill>
                  <a:schemeClr val="bg1"/>
                </a:solidFill>
              </a:rPr>
              <a:t>Doelstelling van de Aanbesteding</a:t>
            </a:r>
          </a:p>
          <a:p>
            <a:pPr marL="285750" indent="-285750">
              <a:buFont typeface="Arial" panose="020B0604020202020204" pitchFamily="34" charset="0"/>
              <a:buChar char="•"/>
            </a:pPr>
            <a:r>
              <a:rPr lang="nl-NL" dirty="0">
                <a:solidFill>
                  <a:schemeClr val="bg1"/>
                </a:solidFill>
              </a:rPr>
              <a:t>Gunningscriterium prijs </a:t>
            </a:r>
          </a:p>
          <a:p>
            <a:pPr marL="285750" indent="-285750">
              <a:buFont typeface="Arial" panose="020B0604020202020204" pitchFamily="34" charset="0"/>
              <a:buChar char="•"/>
            </a:pPr>
            <a:r>
              <a:rPr lang="nl-NL" dirty="0">
                <a:solidFill>
                  <a:schemeClr val="bg1"/>
                </a:solidFill>
              </a:rPr>
              <a:t>Vragen</a:t>
            </a:r>
          </a:p>
          <a:p>
            <a:pPr algn="l"/>
            <a:endParaRPr lang="nl-NL" dirty="0">
              <a:solidFill>
                <a:schemeClr val="bg1"/>
              </a:solidFill>
            </a:endParaRPr>
          </a:p>
          <a:p>
            <a:pPr algn="l"/>
            <a:endParaRPr lang="nl-NL" dirty="0">
              <a:solidFill>
                <a:schemeClr val="bg1"/>
              </a:solidFill>
            </a:endParaRPr>
          </a:p>
          <a:p>
            <a:pPr algn="l"/>
            <a:endParaRPr lang="nl-NL" dirty="0">
              <a:solidFill>
                <a:schemeClr val="bg1"/>
              </a:solidFill>
            </a:endParaRPr>
          </a:p>
          <a:p>
            <a:pPr algn="l"/>
            <a:endParaRPr lang="nl-NL" dirty="0">
              <a:solidFill>
                <a:schemeClr val="bg1"/>
              </a:solidFill>
            </a:endParaRPr>
          </a:p>
          <a:p>
            <a:pPr algn="l"/>
            <a:endParaRPr lang="nl-NL" dirty="0">
              <a:solidFill>
                <a:schemeClr val="bg1"/>
              </a:solidFill>
            </a:endParaRPr>
          </a:p>
          <a:p>
            <a:pPr algn="l"/>
            <a:endParaRPr lang="nl-NL" dirty="0">
              <a:solidFill>
                <a:schemeClr val="bg1"/>
              </a:solidFill>
            </a:endParaRPr>
          </a:p>
          <a:p>
            <a:pPr algn="l"/>
            <a:endParaRPr lang="nl-NL" dirty="0">
              <a:solidFill>
                <a:schemeClr val="bg1"/>
              </a:solidFill>
            </a:endParaRPr>
          </a:p>
        </p:txBody>
      </p:sp>
    </p:spTree>
    <p:extLst>
      <p:ext uri="{BB962C8B-B14F-4D97-AF65-F5344CB8AC3E}">
        <p14:creationId xmlns:p14="http://schemas.microsoft.com/office/powerpoint/2010/main" val="1762490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C50A50EC-77CA-4B78-9427-68ED339CEA1A}"/>
              </a:ext>
            </a:extLst>
          </p:cNvPr>
          <p:cNvSpPr/>
          <p:nvPr/>
        </p:nvSpPr>
        <p:spPr>
          <a:xfrm>
            <a:off x="10391086" y="6265648"/>
            <a:ext cx="1651055" cy="592353"/>
          </a:xfrm>
          <a:custGeom>
            <a:avLst/>
            <a:gdLst>
              <a:gd name="connsiteX0" fmla="*/ 1651055 w 1651055"/>
              <a:gd name="connsiteY0" fmla="*/ 592353 h 592353"/>
              <a:gd name="connsiteX1" fmla="*/ 0 w 1651055"/>
              <a:gd name="connsiteY1" fmla="*/ 592353 h 592353"/>
              <a:gd name="connsiteX2" fmla="*/ 0 w 1651055"/>
              <a:gd name="connsiteY2" fmla="*/ 54673 h 592353"/>
              <a:gd name="connsiteX3" fmla="*/ 54672 w 1651055"/>
              <a:gd name="connsiteY3" fmla="*/ 0 h 592353"/>
              <a:gd name="connsiteX4" fmla="*/ 1596382 w 1651055"/>
              <a:gd name="connsiteY4" fmla="*/ 0 h 592353"/>
              <a:gd name="connsiteX5" fmla="*/ 1651055 w 1651055"/>
              <a:gd name="connsiteY5" fmla="*/ 54673 h 592353"/>
              <a:gd name="connsiteX6" fmla="*/ 1651055 w 1651055"/>
              <a:gd name="connsiteY6" fmla="*/ 592353 h 59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1055" h="592353">
                <a:moveTo>
                  <a:pt x="1651055" y="592353"/>
                </a:moveTo>
                <a:lnTo>
                  <a:pt x="0" y="592353"/>
                </a:lnTo>
                <a:lnTo>
                  <a:pt x="0" y="54673"/>
                </a:lnTo>
                <a:cubicBezTo>
                  <a:pt x="0" y="24485"/>
                  <a:pt x="24485" y="0"/>
                  <a:pt x="54672" y="0"/>
                </a:cubicBezTo>
                <a:lnTo>
                  <a:pt x="1596382" y="0"/>
                </a:lnTo>
                <a:cubicBezTo>
                  <a:pt x="1626570" y="0"/>
                  <a:pt x="1651055" y="24485"/>
                  <a:pt x="1651055" y="54673"/>
                </a:cubicBezTo>
                <a:lnTo>
                  <a:pt x="1651055" y="592353"/>
                </a:lnTo>
                <a:close/>
              </a:path>
            </a:pathLst>
          </a:custGeom>
          <a:solidFill>
            <a:srgbClr val="FFFFFF"/>
          </a:solidFill>
          <a:ln w="7603" cap="flat">
            <a:noFill/>
            <a:prstDash val="solid"/>
            <a:miter/>
          </a:ln>
          <a:effectLst>
            <a:outerShdw blurRad="63500" algn="ctr" rotWithShape="0">
              <a:prstClr val="black">
                <a:alpha val="30000"/>
              </a:prstClr>
            </a:outerShdw>
          </a:effectLst>
        </p:spPr>
        <p:txBody>
          <a:bodyPr rtlCol="0" anchor="ctr"/>
          <a:lstStyle/>
          <a:p>
            <a:endParaRPr lang="nl-NL" sz="5000"/>
          </a:p>
        </p:txBody>
      </p:sp>
      <p:pic>
        <p:nvPicPr>
          <p:cNvPr id="5" name="logo Labor Redimo RGB.png">
            <a:extLst>
              <a:ext uri="{FF2B5EF4-FFF2-40B4-BE49-F238E27FC236}">
                <a16:creationId xmlns:a16="http://schemas.microsoft.com/office/drawing/2014/main" id="{EE6C4C46-B927-4A55-9996-736343316484}"/>
              </a:ext>
            </a:extLst>
          </p:cNvPr>
          <p:cNvPicPr/>
          <p:nvPr/>
        </p:nvPicPr>
        <p:blipFill>
          <a:blip r:embed="rId3"/>
          <a:stretch>
            <a:fillRect/>
          </a:stretch>
        </p:blipFill>
        <p:spPr>
          <a:xfrm>
            <a:off x="10574758" y="6402508"/>
            <a:ext cx="850660" cy="318630"/>
          </a:xfrm>
          <a:prstGeom prst="rect">
            <a:avLst/>
          </a:prstGeom>
          <a:ln w="12700">
            <a:miter lim="400000"/>
          </a:ln>
        </p:spPr>
      </p:pic>
      <p:sp>
        <p:nvSpPr>
          <p:cNvPr id="6" name="Graphic 2">
            <a:extLst>
              <a:ext uri="{FF2B5EF4-FFF2-40B4-BE49-F238E27FC236}">
                <a16:creationId xmlns:a16="http://schemas.microsoft.com/office/drawing/2014/main" id="{F9666A5E-95FE-41D8-BA81-1ADF7C7428C7}"/>
              </a:ext>
            </a:extLst>
          </p:cNvPr>
          <p:cNvSpPr/>
          <p:nvPr/>
        </p:nvSpPr>
        <p:spPr>
          <a:xfrm>
            <a:off x="11607117" y="6470879"/>
            <a:ext cx="7603" cy="181888"/>
          </a:xfrm>
          <a:custGeom>
            <a:avLst/>
            <a:gdLst>
              <a:gd name="connsiteX0" fmla="*/ 0 w 7603"/>
              <a:gd name="connsiteY0" fmla="*/ 0 h 181888"/>
              <a:gd name="connsiteX1" fmla="*/ 0 w 7603"/>
              <a:gd name="connsiteY1" fmla="*/ 181888 h 181888"/>
            </a:gdLst>
            <a:ahLst/>
            <a:cxnLst>
              <a:cxn ang="0">
                <a:pos x="connsiteX0" y="connsiteY0"/>
              </a:cxn>
              <a:cxn ang="0">
                <a:pos x="connsiteX1" y="connsiteY1"/>
              </a:cxn>
            </a:cxnLst>
            <a:rect l="l" t="t" r="r" b="b"/>
            <a:pathLst>
              <a:path w="7603" h="181888">
                <a:moveTo>
                  <a:pt x="0" y="0"/>
                </a:moveTo>
                <a:lnTo>
                  <a:pt x="0" y="181888"/>
                </a:lnTo>
              </a:path>
            </a:pathLst>
          </a:custGeom>
          <a:ln w="6350" cap="flat">
            <a:solidFill>
              <a:srgbClr val="EA5A0B"/>
            </a:solidFill>
            <a:prstDash val="solid"/>
            <a:miter/>
          </a:ln>
        </p:spPr>
        <p:txBody>
          <a:bodyPr rtlCol="0" anchor="ctr"/>
          <a:lstStyle/>
          <a:p>
            <a:endParaRPr lang="nl-NL" sz="5000"/>
          </a:p>
        </p:txBody>
      </p:sp>
      <p:sp>
        <p:nvSpPr>
          <p:cNvPr id="7" name="Graphic 2">
            <a:extLst>
              <a:ext uri="{FF2B5EF4-FFF2-40B4-BE49-F238E27FC236}">
                <a16:creationId xmlns:a16="http://schemas.microsoft.com/office/drawing/2014/main" id="{3ADB9EA2-4E3D-4C47-AA12-186C28E59F37}"/>
              </a:ext>
            </a:extLst>
          </p:cNvPr>
          <p:cNvSpPr txBox="1"/>
          <p:nvPr/>
        </p:nvSpPr>
        <p:spPr>
          <a:xfrm>
            <a:off x="11784052" y="6469490"/>
            <a:ext cx="68929" cy="153888"/>
          </a:xfrm>
          <a:prstGeom prst="rect">
            <a:avLst/>
          </a:prstGeom>
          <a:noFill/>
        </p:spPr>
        <p:txBody>
          <a:bodyPr wrap="none" lIns="0" tIns="0" rIns="0" bIns="0" rtlCol="0">
            <a:spAutoFit/>
          </a:bodyPr>
          <a:lstStyle/>
          <a:p>
            <a:pPr algn="ctr"/>
            <a:fld id="{0C24A3A5-0C50-4F40-9A09-C1BD1EE92E28}" type="slidenum">
              <a:rPr lang="nl-NL" sz="1000">
                <a:solidFill>
                  <a:srgbClr val="000000"/>
                </a:solidFill>
                <a:latin typeface="VAG Rounded Std Thin" panose="020F0402020204020204" pitchFamily="34" charset="0"/>
                <a:cs typeface="Arial"/>
                <a:sym typeface="Arial"/>
                <a:rtl val="0"/>
              </a:rPr>
              <a:t>30</a:t>
            </a:fld>
            <a:endParaRPr lang="nl-NL" sz="1000" dirty="0">
              <a:solidFill>
                <a:srgbClr val="000000"/>
              </a:solidFill>
              <a:latin typeface="VAG Rounded Std Thin" panose="020F0402020204020204" pitchFamily="34" charset="0"/>
              <a:cs typeface="Arial"/>
              <a:sym typeface="Arial"/>
              <a:rtl val="0"/>
            </a:endParaRPr>
          </a:p>
        </p:txBody>
      </p:sp>
      <p:sp>
        <p:nvSpPr>
          <p:cNvPr id="10" name="Tijdelijke aanduiding voor tekst 2">
            <a:extLst>
              <a:ext uri="{FF2B5EF4-FFF2-40B4-BE49-F238E27FC236}">
                <a16:creationId xmlns:a16="http://schemas.microsoft.com/office/drawing/2014/main" id="{42F8974D-1CCD-74A0-22B3-62FD704F9B5A}"/>
              </a:ext>
            </a:extLst>
          </p:cNvPr>
          <p:cNvSpPr txBox="1">
            <a:spLocks/>
          </p:cNvSpPr>
          <p:nvPr/>
        </p:nvSpPr>
        <p:spPr>
          <a:xfrm>
            <a:off x="616904" y="2102830"/>
            <a:ext cx="9774181" cy="309618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400" dirty="0">
                <a:solidFill>
                  <a:schemeClr val="bg1"/>
                </a:solidFill>
                <a:latin typeface="TheSans-Plain"/>
                <a:ea typeface="Verdana" panose="020B0604030504040204" pitchFamily="34" charset="0"/>
                <a:cs typeface="Verdana" panose="020B0604030504040204" pitchFamily="34" charset="0"/>
              </a:rPr>
              <a:t>Stel de vragen </a:t>
            </a:r>
            <a:r>
              <a:rPr lang="nl-NL" sz="2400" i="1" dirty="0">
                <a:solidFill>
                  <a:schemeClr val="bg1"/>
                </a:solidFill>
                <a:latin typeface="TheSans-Plain"/>
                <a:ea typeface="Verdana" panose="020B0604030504040204" pitchFamily="34" charset="0"/>
                <a:cs typeface="Verdana" panose="020B0604030504040204" pitchFamily="34" charset="0"/>
              </a:rPr>
              <a:t>schriftelijk</a:t>
            </a:r>
            <a:r>
              <a:rPr lang="nl-NL" sz="2400" dirty="0">
                <a:solidFill>
                  <a:schemeClr val="bg1"/>
                </a:solidFill>
                <a:latin typeface="TheSans-Plain"/>
                <a:ea typeface="Verdana" panose="020B0604030504040204" pitchFamily="34" charset="0"/>
                <a:cs typeface="Verdana" panose="020B0604030504040204" pitchFamily="34" charset="0"/>
              </a:rPr>
              <a:t> ten behoeve van de Nota van Inlichtingen. </a:t>
            </a:r>
          </a:p>
          <a:p>
            <a:endParaRPr lang="nl-NL" sz="2400" dirty="0">
              <a:solidFill>
                <a:schemeClr val="bg1"/>
              </a:solidFill>
              <a:latin typeface="TheSans-Plain"/>
              <a:ea typeface="Verdana" panose="020B0604030504040204" pitchFamily="34" charset="0"/>
              <a:cs typeface="Verdana" panose="020B0604030504040204" pitchFamily="34" charset="0"/>
            </a:endParaRPr>
          </a:p>
          <a:p>
            <a:r>
              <a:rPr lang="nl-NL" sz="2400" dirty="0">
                <a:solidFill>
                  <a:schemeClr val="bg1"/>
                </a:solidFill>
                <a:latin typeface="TheSans-Plain"/>
                <a:ea typeface="Verdana" panose="020B0604030504040204" pitchFamily="34" charset="0"/>
                <a:cs typeface="Verdana" panose="020B0604030504040204" pitchFamily="34" charset="0"/>
              </a:rPr>
              <a:t>Eerste vragenronde sluit op 16 januari.</a:t>
            </a:r>
          </a:p>
        </p:txBody>
      </p:sp>
      <p:sp>
        <p:nvSpPr>
          <p:cNvPr id="13" name="Tijdelijke aanduiding voor tekst 3">
            <a:extLst>
              <a:ext uri="{FF2B5EF4-FFF2-40B4-BE49-F238E27FC236}">
                <a16:creationId xmlns:a16="http://schemas.microsoft.com/office/drawing/2014/main" id="{A1F8B7AC-CFD2-BF82-B425-896CC2E1BB75}"/>
              </a:ext>
            </a:extLst>
          </p:cNvPr>
          <p:cNvSpPr txBox="1">
            <a:spLocks/>
          </p:cNvSpPr>
          <p:nvPr/>
        </p:nvSpPr>
        <p:spPr>
          <a:xfrm>
            <a:off x="652740" y="3246387"/>
            <a:ext cx="7776864" cy="24482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Tx/>
              <a:buChar char="-"/>
            </a:pPr>
            <a:endParaRPr lang="nl-NL"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6658436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p:cNvSpPr txBox="1"/>
          <p:nvPr/>
        </p:nvSpPr>
        <p:spPr>
          <a:xfrm>
            <a:off x="518984" y="1788959"/>
            <a:ext cx="11121081" cy="4431983"/>
          </a:xfrm>
          <a:prstGeom prst="rect">
            <a:avLst/>
          </a:prstGeom>
          <a:noFill/>
        </p:spPr>
        <p:txBody>
          <a:bodyPr wrap="square" lIns="0" tIns="0" rIns="0" bIns="0" rtlCol="0">
            <a:spAutoFit/>
          </a:bodyPr>
          <a:lstStyle/>
          <a:p>
            <a:r>
              <a:rPr lang="nl-NL" b="1">
                <a:solidFill>
                  <a:schemeClr val="bg1"/>
                </a:solidFill>
              </a:rPr>
              <a:t>Wet Coa</a:t>
            </a:r>
            <a:endParaRPr lang="nl-NL">
              <a:solidFill>
                <a:schemeClr val="bg1"/>
              </a:solidFill>
            </a:endParaRPr>
          </a:p>
          <a:p>
            <a:endParaRPr lang="nl-NL">
              <a:solidFill>
                <a:schemeClr val="bg1"/>
              </a:solidFill>
            </a:endParaRPr>
          </a:p>
          <a:p>
            <a:r>
              <a:rPr lang="nl-NL">
                <a:solidFill>
                  <a:schemeClr val="bg1"/>
                </a:solidFill>
              </a:rPr>
              <a:t>COA staat voor Centraal Orgaan opvang asielzoekers. </a:t>
            </a:r>
          </a:p>
          <a:p>
            <a:r>
              <a:rPr lang="nl-NL">
                <a:solidFill>
                  <a:schemeClr val="bg1"/>
                </a:solidFill>
              </a:rPr>
              <a:t>Wij zijn sinds 1994 verantwoordelijk voor de opvang en begeleiding van asielzoekers in Nederland. We begeleiden hen naar een toekomst in Nederland of daarbuiten. Daarbij werken we nauw samen met andere organisaties.</a:t>
            </a:r>
          </a:p>
          <a:p>
            <a:endParaRPr lang="nl-NL">
              <a:solidFill>
                <a:schemeClr val="bg1"/>
              </a:solidFill>
            </a:endParaRPr>
          </a:p>
          <a:p>
            <a:endParaRPr lang="nl-NL">
              <a:solidFill>
                <a:schemeClr val="bg1"/>
              </a:solidFill>
            </a:endParaRPr>
          </a:p>
          <a:p>
            <a:r>
              <a:rPr lang="nl-NL">
                <a:solidFill>
                  <a:schemeClr val="bg1"/>
                </a:solidFill>
              </a:rPr>
              <a:t>In de 'Wet COA' zijn de volgende taken vastgelegd voor het zelfstandig bestuursorgaan Centraal Orgaan opvang asielzoekers:</a:t>
            </a:r>
          </a:p>
          <a:p>
            <a:endParaRPr lang="nl-NL">
              <a:solidFill>
                <a:schemeClr val="bg1"/>
              </a:solidFill>
            </a:endParaRPr>
          </a:p>
          <a:p>
            <a:pPr marL="285750" indent="-285750">
              <a:buFont typeface="Arial" panose="020B0604020202020204" pitchFamily="34" charset="0"/>
              <a:buChar char="•"/>
            </a:pPr>
            <a:r>
              <a:rPr lang="nl-NL">
                <a:solidFill>
                  <a:schemeClr val="bg1"/>
                </a:solidFill>
              </a:rPr>
              <a:t>onderdak bieden aan asielzoekers</a:t>
            </a:r>
          </a:p>
          <a:p>
            <a:pPr marL="285750" indent="-285750">
              <a:buFont typeface="Arial" panose="020B0604020202020204" pitchFamily="34" charset="0"/>
              <a:buChar char="•"/>
            </a:pPr>
            <a:r>
              <a:rPr lang="nl-NL">
                <a:solidFill>
                  <a:schemeClr val="bg1"/>
                </a:solidFill>
              </a:rPr>
              <a:t>hen begeleiden naar een toekomst in Nederland of daarbuiten</a:t>
            </a:r>
          </a:p>
          <a:p>
            <a:pPr marL="285750" indent="-285750">
              <a:buFont typeface="Arial" panose="020B0604020202020204" pitchFamily="34" charset="0"/>
              <a:buChar char="•"/>
            </a:pPr>
            <a:r>
              <a:rPr lang="nl-NL">
                <a:solidFill>
                  <a:schemeClr val="bg1"/>
                </a:solidFill>
              </a:rPr>
              <a:t>opvanglocaties verwerven en beheren</a:t>
            </a:r>
          </a:p>
          <a:p>
            <a:pPr marL="285750" indent="-285750">
              <a:buFont typeface="Arial" panose="020B0604020202020204" pitchFamily="34" charset="0"/>
              <a:buChar char="•"/>
            </a:pPr>
            <a:r>
              <a:rPr lang="nl-NL">
                <a:solidFill>
                  <a:schemeClr val="bg1"/>
                </a:solidFill>
              </a:rPr>
              <a:t>de veiligheid en leefbaarheid in de opvanglocaties handhaven</a:t>
            </a:r>
          </a:p>
          <a:p>
            <a:pPr marL="285750" indent="-285750">
              <a:buFont typeface="Arial" panose="020B0604020202020204" pitchFamily="34" charset="0"/>
              <a:buChar char="•"/>
            </a:pPr>
            <a:r>
              <a:rPr lang="nl-NL">
                <a:solidFill>
                  <a:schemeClr val="bg1"/>
                </a:solidFill>
              </a:rPr>
              <a:t>asielzoekers voorzien van noodzakelijke middelen</a:t>
            </a:r>
          </a:p>
        </p:txBody>
      </p:sp>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Wet Coa</a:t>
            </a:r>
            <a:endParaRPr lang="nl-NL" b="1" dirty="0">
              <a:solidFill>
                <a:schemeClr val="accent1">
                  <a:lumMod val="50000"/>
                </a:schemeClr>
              </a:solidFill>
            </a:endParaRPr>
          </a:p>
        </p:txBody>
      </p:sp>
    </p:spTree>
    <p:extLst>
      <p:ext uri="{BB962C8B-B14F-4D97-AF65-F5344CB8AC3E}">
        <p14:creationId xmlns:p14="http://schemas.microsoft.com/office/powerpoint/2010/main" val="1346051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p:cNvSpPr txBox="1"/>
          <p:nvPr/>
        </p:nvSpPr>
        <p:spPr>
          <a:xfrm>
            <a:off x="518984" y="1639330"/>
            <a:ext cx="11121081" cy="5170646"/>
          </a:xfrm>
          <a:prstGeom prst="rect">
            <a:avLst/>
          </a:prstGeom>
          <a:noFill/>
        </p:spPr>
        <p:txBody>
          <a:bodyPr wrap="square" lIns="0" tIns="0" rIns="0" bIns="0" rtlCol="0">
            <a:spAutoFit/>
          </a:bodyPr>
          <a:lstStyle/>
          <a:p>
            <a:r>
              <a:rPr lang="nl-NL" sz="1400" b="1" u="sng">
                <a:solidFill>
                  <a:schemeClr val="bg1"/>
                </a:solidFill>
              </a:rPr>
              <a:t>Missie</a:t>
            </a:r>
          </a:p>
          <a:p>
            <a:r>
              <a:rPr lang="nl-NL" sz="1400">
                <a:solidFill>
                  <a:schemeClr val="bg1"/>
                </a:solidFill>
              </a:rPr>
              <a:t>Het COA biedt asielzoekers leefbare en veilige opvang en begeleidt hen naar een toekomst in Nederland of daarbuiten, in samenwerking met partners in de samenleving.</a:t>
            </a:r>
          </a:p>
          <a:p>
            <a:endParaRPr lang="nl-NL" sz="1400">
              <a:solidFill>
                <a:schemeClr val="bg1"/>
              </a:solidFill>
            </a:endParaRPr>
          </a:p>
          <a:p>
            <a:r>
              <a:rPr lang="nl-NL" sz="1400" b="1" u="sng">
                <a:solidFill>
                  <a:schemeClr val="bg1"/>
                </a:solidFill>
              </a:rPr>
              <a:t>Visie</a:t>
            </a:r>
          </a:p>
          <a:p>
            <a:r>
              <a:rPr lang="nl-NL" sz="1400">
                <a:solidFill>
                  <a:schemeClr val="bg1"/>
                </a:solidFill>
              </a:rPr>
              <a:t>Wij zijn de professionals op het gebied van menswaardige en duurzame opvang en begeleiding van asielzoekers. Wij vervullen een centrale rol in het opvangproces in Nederland conform Europese standaarden. In goede samenwerking met betrokken partners speelt het COA flexibel, transparant en voorspelbaar in op veranderingen.</a:t>
            </a:r>
          </a:p>
          <a:p>
            <a:endParaRPr lang="nl-NL" sz="1400">
              <a:solidFill>
                <a:schemeClr val="bg1"/>
              </a:solidFill>
            </a:endParaRPr>
          </a:p>
          <a:p>
            <a:r>
              <a:rPr lang="nl-NL" sz="1400">
                <a:solidFill>
                  <a:schemeClr val="bg1"/>
                </a:solidFill>
              </a:rPr>
              <a:t>Wij werken internationaal samen met partners opdat asielmigratie naar en in Europa voorspelbaarder, planmatiger en menswaardiger wordt, ook in Nederland.</a:t>
            </a:r>
          </a:p>
          <a:p>
            <a:endParaRPr lang="nl-NL" sz="1400">
              <a:solidFill>
                <a:schemeClr val="bg1"/>
              </a:solidFill>
            </a:endParaRPr>
          </a:p>
          <a:p>
            <a:r>
              <a:rPr lang="nl-NL" sz="1400">
                <a:solidFill>
                  <a:schemeClr val="bg1"/>
                </a:solidFill>
              </a:rPr>
              <a:t>We creëren, samen met partners, doelmatige, duurzame, veilige, menswaardige en flexibele opvangvormen en bieden daarbij maatschappelijke meerwaarde, bijvoorbeeld op het gebied van (arbeids)participatie, lokale investeringen en huisvesting.</a:t>
            </a:r>
          </a:p>
          <a:p>
            <a:endParaRPr lang="nl-NL" sz="1400">
              <a:solidFill>
                <a:schemeClr val="bg1"/>
              </a:solidFill>
            </a:endParaRPr>
          </a:p>
          <a:p>
            <a:r>
              <a:rPr lang="nl-NL" sz="1400">
                <a:solidFill>
                  <a:schemeClr val="bg1"/>
                </a:solidFill>
              </a:rPr>
              <a:t>Wij bieden kwalitatief hoogwaardige begeleiding aan onze bewoners. Daarmee stimuleren wij hen en stellen we hen in staat zelfredzaam te zijn in een voor hen nog onbekende omgeving. Zo kunnen zij zo vroeg mogelijk verantwoordelijkheid nemen voor hun eigen toekomst en een bijdrage leveren aan de samenleving. Als onze bewoners geen recht hebben op asiel, draagt onze begeleiding bij aan terugkeer met perspectief.</a:t>
            </a:r>
          </a:p>
          <a:p>
            <a:endParaRPr lang="nl-NL" sz="1400">
              <a:solidFill>
                <a:schemeClr val="bg1"/>
              </a:solidFill>
            </a:endParaRPr>
          </a:p>
          <a:p>
            <a:r>
              <a:rPr lang="nl-NL" sz="1400">
                <a:solidFill>
                  <a:schemeClr val="bg1"/>
                </a:solidFill>
              </a:rPr>
              <a:t>Wij kennen onze bewoners en hun talenten in een vroeg stadium en kunnen daarom maatwerk bieden. Wij zijn daarom voor onze partners een onmisbare schakel in een doorlopende lijn van begeleiding van bewoners naar integratie en (arbeids)participatie in Nederland. We stellen onze kennis en ervaring op dit gebied ter beschikking in alle fasen van het asielproces, </a:t>
            </a:r>
          </a:p>
          <a:p>
            <a:r>
              <a:rPr lang="nl-NL" sz="1400">
                <a:solidFill>
                  <a:schemeClr val="bg1"/>
                </a:solidFill>
              </a:rPr>
              <a:t>Het COA realiseert deze visie op een duurzame manier via het toevoegen van waarde aan mens, milieu en maatschappij.</a:t>
            </a:r>
          </a:p>
        </p:txBody>
      </p:sp>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Missie en visie</a:t>
            </a:r>
            <a:endParaRPr lang="nl-NL" b="1" dirty="0">
              <a:solidFill>
                <a:schemeClr val="accent1">
                  <a:lumMod val="50000"/>
                </a:schemeClr>
              </a:solidFill>
            </a:endParaRPr>
          </a:p>
        </p:txBody>
      </p:sp>
    </p:spTree>
    <p:extLst>
      <p:ext uri="{BB962C8B-B14F-4D97-AF65-F5344CB8AC3E}">
        <p14:creationId xmlns:p14="http://schemas.microsoft.com/office/powerpoint/2010/main" val="775741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p:cNvSpPr txBox="1"/>
          <p:nvPr/>
        </p:nvSpPr>
        <p:spPr>
          <a:xfrm>
            <a:off x="510671" y="1830523"/>
            <a:ext cx="11121081" cy="4585871"/>
          </a:xfrm>
          <a:prstGeom prst="rect">
            <a:avLst/>
          </a:prstGeom>
          <a:noFill/>
        </p:spPr>
        <p:txBody>
          <a:bodyPr wrap="square" lIns="0" tIns="0" rIns="0" bIns="0" rtlCol="0">
            <a:spAutoFit/>
          </a:bodyPr>
          <a:lstStyle/>
          <a:p>
            <a:r>
              <a:rPr lang="nl-NL" b="1">
                <a:solidFill>
                  <a:schemeClr val="bg1"/>
                </a:solidFill>
              </a:rPr>
              <a:t>Kernwaarden</a:t>
            </a:r>
          </a:p>
          <a:p>
            <a:endParaRPr lang="nl-NL" sz="1400">
              <a:solidFill>
                <a:schemeClr val="bg1"/>
              </a:solidFill>
            </a:endParaRPr>
          </a:p>
          <a:p>
            <a:r>
              <a:rPr lang="nl-NL" sz="1400" u="sng">
                <a:solidFill>
                  <a:schemeClr val="bg1"/>
                </a:solidFill>
              </a:rPr>
              <a:t>Menswaardig</a:t>
            </a:r>
          </a:p>
          <a:p>
            <a:r>
              <a:rPr lang="nl-NL" sz="1400">
                <a:solidFill>
                  <a:schemeClr val="bg1"/>
                </a:solidFill>
              </a:rPr>
              <a:t>Wij bieden veilige en menswaardige opvang en staan naast de bewoner. We zijn positief, betrokken, sociaal en duidelijk. Onze begeleiding draagt eraan bij dat onze bewoners zelf verantwoordelijkheid nemen, zelfredzamer worden en zich ontwikkelen. Zo zijn zij beter voorbereid op hun toekomst in Nederland of daarbuiten.</a:t>
            </a:r>
          </a:p>
          <a:p>
            <a:endParaRPr lang="nl-NL" sz="1400">
              <a:solidFill>
                <a:schemeClr val="bg1"/>
              </a:solidFill>
            </a:endParaRPr>
          </a:p>
          <a:p>
            <a:r>
              <a:rPr lang="nl-NL" sz="1400" u="sng">
                <a:solidFill>
                  <a:schemeClr val="bg1"/>
                </a:solidFill>
              </a:rPr>
              <a:t>Samen</a:t>
            </a:r>
          </a:p>
          <a:p>
            <a:r>
              <a:rPr lang="nl-NL" sz="1400">
                <a:solidFill>
                  <a:schemeClr val="bg1"/>
                </a:solidFill>
              </a:rPr>
              <a:t>Door intern én extern samen te werken, creëren we meerwaarde voor onze bewoners, onze medewerkers en onze omgeving. We werken daarbij intensief samen met keten- en samenwerkingspartners, gemeenten en ngo’s. Internationaal trekken we op met zusterorganisaties en andere partners.</a:t>
            </a:r>
          </a:p>
          <a:p>
            <a:endParaRPr lang="nl-NL" sz="1400">
              <a:solidFill>
                <a:schemeClr val="bg1"/>
              </a:solidFill>
            </a:endParaRPr>
          </a:p>
          <a:p>
            <a:r>
              <a:rPr lang="nl-NL" sz="1400" u="sng">
                <a:solidFill>
                  <a:schemeClr val="bg1"/>
                </a:solidFill>
              </a:rPr>
              <a:t>Open</a:t>
            </a:r>
          </a:p>
          <a:p>
            <a:r>
              <a:rPr lang="nl-NL" sz="1400">
                <a:solidFill>
                  <a:schemeClr val="bg1"/>
                </a:solidFill>
              </a:rPr>
              <a:t>We staan open voor elkaar en voor anderen en delen onze kennis en ervaring. We zijn transparant over wie we zijn, wat we doen en wat er bij ons gebeurt. We nemen de Nederlandse samenleving mee in ontwikkelingen en in onze dilemma’s. Op die manier werken we aan draagvlak voor ons werk.</a:t>
            </a:r>
          </a:p>
          <a:p>
            <a:endParaRPr lang="nl-NL" sz="1400">
              <a:solidFill>
                <a:schemeClr val="bg1"/>
              </a:solidFill>
            </a:endParaRPr>
          </a:p>
          <a:p>
            <a:r>
              <a:rPr lang="nl-NL" sz="1400" u="sng">
                <a:solidFill>
                  <a:schemeClr val="bg1"/>
                </a:solidFill>
              </a:rPr>
              <a:t>Resultaatgericht</a:t>
            </a:r>
          </a:p>
          <a:p>
            <a:r>
              <a:rPr lang="nl-NL" sz="1400">
                <a:solidFill>
                  <a:schemeClr val="bg1"/>
                </a:solidFill>
              </a:rPr>
              <a:t>We werken resultaatgericht, professioneel en efficiënt. We zijn collegiaal en spreken elkaar aan. Binnen de gestelde kaders nemen wij als professionals de ruimte om ons werk steeds beter te doen. We leren en innoveren. We kijken vooruit, nemen initiatief en komen onze afspraken na.</a:t>
            </a:r>
          </a:p>
        </p:txBody>
      </p:sp>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Kernwaarden</a:t>
            </a:r>
            <a:endParaRPr lang="nl-NL" b="1" dirty="0">
              <a:solidFill>
                <a:schemeClr val="accent1">
                  <a:lumMod val="50000"/>
                </a:schemeClr>
              </a:solidFill>
            </a:endParaRPr>
          </a:p>
        </p:txBody>
      </p:sp>
    </p:spTree>
    <p:extLst>
      <p:ext uri="{BB962C8B-B14F-4D97-AF65-F5344CB8AC3E}">
        <p14:creationId xmlns:p14="http://schemas.microsoft.com/office/powerpoint/2010/main" val="36977376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3413095" y="370002"/>
            <a:ext cx="5198076" cy="553998"/>
          </a:xfrm>
          <a:prstGeom prst="rect">
            <a:avLst/>
          </a:prstGeom>
          <a:noFill/>
        </p:spPr>
        <p:txBody>
          <a:bodyPr wrap="square" lIns="0" tIns="0" rIns="0" bIns="0" rtlCol="0">
            <a:spAutoFit/>
          </a:bodyPr>
          <a:lstStyle/>
          <a:p>
            <a:pPr algn="r"/>
            <a:r>
              <a:rPr lang="nl-NL" b="1">
                <a:solidFill>
                  <a:schemeClr val="accent1">
                    <a:lumMod val="50000"/>
                  </a:schemeClr>
                </a:solidFill>
              </a:rPr>
              <a:t>Samenvatting Coa jaarplan 2023 </a:t>
            </a:r>
          </a:p>
          <a:p>
            <a:pPr algn="r"/>
            <a:r>
              <a:rPr lang="nl-NL" b="1">
                <a:solidFill>
                  <a:schemeClr val="accent1">
                    <a:lumMod val="50000"/>
                  </a:schemeClr>
                </a:solidFill>
              </a:rPr>
              <a:t>(2024 is nog niet afgerond)</a:t>
            </a:r>
            <a:endParaRPr lang="nl-NL" b="1" dirty="0">
              <a:solidFill>
                <a:schemeClr val="accent1">
                  <a:lumMod val="50000"/>
                </a:schemeClr>
              </a:solidFill>
            </a:endParaRPr>
          </a:p>
        </p:txBody>
      </p:sp>
      <p:pic>
        <p:nvPicPr>
          <p:cNvPr id="3" name="Afbeelding 2"/>
          <p:cNvPicPr>
            <a:picLocks noChangeAspect="1"/>
          </p:cNvPicPr>
          <p:nvPr/>
        </p:nvPicPr>
        <p:blipFill>
          <a:blip r:embed="rId3"/>
          <a:stretch>
            <a:fillRect/>
          </a:stretch>
        </p:blipFill>
        <p:spPr>
          <a:xfrm>
            <a:off x="0" y="1381641"/>
            <a:ext cx="12192000" cy="53985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35320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Meerjarenstrategie</a:t>
            </a:r>
            <a:endParaRPr lang="nl-NL" b="1" dirty="0">
              <a:solidFill>
                <a:schemeClr val="accent1">
                  <a:lumMod val="50000"/>
                </a:schemeClr>
              </a:solidFill>
            </a:endParaRPr>
          </a:p>
        </p:txBody>
      </p:sp>
      <p:sp>
        <p:nvSpPr>
          <p:cNvPr id="4" name="Rechthoek 3"/>
          <p:cNvSpPr/>
          <p:nvPr/>
        </p:nvSpPr>
        <p:spPr>
          <a:xfrm>
            <a:off x="283319" y="1921241"/>
            <a:ext cx="10834254" cy="2554545"/>
          </a:xfrm>
          <a:prstGeom prst="rect">
            <a:avLst/>
          </a:prstGeom>
        </p:spPr>
        <p:txBody>
          <a:bodyPr wrap="square">
            <a:spAutoFit/>
          </a:bodyPr>
          <a:lstStyle/>
          <a:p>
            <a:r>
              <a:rPr lang="nl-NL" sz="3200" b="1">
                <a:solidFill>
                  <a:schemeClr val="bg1"/>
                </a:solidFill>
                <a:latin typeface="TheSansBold-Plain"/>
              </a:rPr>
              <a:t>Vooruitdenken in het schaakspel</a:t>
            </a:r>
          </a:p>
          <a:p>
            <a:r>
              <a:rPr lang="nl-NL" sz="1600">
                <a:solidFill>
                  <a:schemeClr val="bg1"/>
                </a:solidFill>
                <a:latin typeface="TheSans-Plain"/>
              </a:rPr>
              <a:t>Voor het COA is positie zoeken rekening houden met velen, laveren op een weg met kuilen</a:t>
            </a:r>
          </a:p>
          <a:p>
            <a:r>
              <a:rPr lang="nl-NL" sz="1600">
                <a:solidFill>
                  <a:schemeClr val="bg1"/>
                </a:solidFill>
                <a:latin typeface="TheSans-Plain"/>
              </a:rPr>
              <a:t>van vele verwachtingen vanuit politiek, belangen, instanties van landelijk tot lokaal. </a:t>
            </a:r>
          </a:p>
          <a:p>
            <a:endParaRPr lang="nl-NL" sz="1600">
              <a:solidFill>
                <a:schemeClr val="bg1"/>
              </a:solidFill>
              <a:latin typeface="TheSans-Plain"/>
            </a:endParaRPr>
          </a:p>
          <a:p>
            <a:r>
              <a:rPr lang="nl-NL" sz="1600">
                <a:solidFill>
                  <a:schemeClr val="bg1"/>
                </a:solidFill>
                <a:latin typeface="TheSans-Plain"/>
              </a:rPr>
              <a:t>Om dat goed te doen, heb je een mix nodig van compassie, meedenken met partners en zelf meerdere</a:t>
            </a:r>
          </a:p>
          <a:p>
            <a:r>
              <a:rPr lang="nl-NL" sz="1600">
                <a:solidFill>
                  <a:schemeClr val="bg1"/>
                </a:solidFill>
                <a:latin typeface="TheSans-Plain"/>
              </a:rPr>
              <a:t>stappen vooruitdenken in het schaakspel. </a:t>
            </a:r>
          </a:p>
          <a:p>
            <a:endParaRPr lang="nl-NL" sz="1600">
              <a:solidFill>
                <a:schemeClr val="bg1"/>
              </a:solidFill>
              <a:latin typeface="TheSans-Plain"/>
            </a:endParaRPr>
          </a:p>
          <a:p>
            <a:r>
              <a:rPr lang="nl-NL" sz="1600">
                <a:solidFill>
                  <a:schemeClr val="bg1"/>
                </a:solidFill>
                <a:latin typeface="TheSans-Plain"/>
              </a:rPr>
              <a:t>De keuzes worden door de politiek gemaakt, die legt vanzelfsprekend ook de criteria vast. En dan begint het echte werk: the proof of the pudding is in the eating.</a:t>
            </a:r>
            <a:endParaRPr lang="nl-NL" sz="1600">
              <a:solidFill>
                <a:schemeClr val="bg1"/>
              </a:solidFill>
            </a:endParaRPr>
          </a:p>
        </p:txBody>
      </p:sp>
    </p:spTree>
    <p:extLst>
      <p:ext uri="{BB962C8B-B14F-4D97-AF65-F5344CB8AC3E}">
        <p14:creationId xmlns:p14="http://schemas.microsoft.com/office/powerpoint/2010/main" val="3298615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6623222" y="428368"/>
            <a:ext cx="5198076" cy="276999"/>
          </a:xfrm>
          <a:prstGeom prst="rect">
            <a:avLst/>
          </a:prstGeom>
          <a:noFill/>
        </p:spPr>
        <p:txBody>
          <a:bodyPr wrap="square" lIns="0" tIns="0" rIns="0" bIns="0" rtlCol="0">
            <a:spAutoFit/>
          </a:bodyPr>
          <a:lstStyle/>
          <a:p>
            <a:pPr algn="r"/>
            <a:r>
              <a:rPr lang="nl-NL" b="1">
                <a:solidFill>
                  <a:schemeClr val="accent1">
                    <a:lumMod val="50000"/>
                  </a:schemeClr>
                </a:solidFill>
              </a:rPr>
              <a:t>Meerjarenstrategie</a:t>
            </a:r>
            <a:endParaRPr lang="nl-NL" b="1" dirty="0">
              <a:solidFill>
                <a:schemeClr val="accent1">
                  <a:lumMod val="50000"/>
                </a:schemeClr>
              </a:solidFill>
            </a:endParaRPr>
          </a:p>
        </p:txBody>
      </p:sp>
      <p:sp>
        <p:nvSpPr>
          <p:cNvPr id="3" name="Rechthoek 2"/>
          <p:cNvSpPr/>
          <p:nvPr/>
        </p:nvSpPr>
        <p:spPr>
          <a:xfrm>
            <a:off x="332509" y="2092305"/>
            <a:ext cx="11238807" cy="4001095"/>
          </a:xfrm>
          <a:prstGeom prst="rect">
            <a:avLst/>
          </a:prstGeom>
        </p:spPr>
        <p:txBody>
          <a:bodyPr wrap="square">
            <a:spAutoFit/>
          </a:bodyPr>
          <a:lstStyle/>
          <a:p>
            <a:r>
              <a:rPr lang="nl-NL" sz="2000" b="1">
                <a:solidFill>
                  <a:schemeClr val="bg1"/>
                </a:solidFill>
                <a:latin typeface="TheSansBold-Plain"/>
              </a:rPr>
              <a:t>1. Het COA biedt altijd genoeg menswaardige opvang en schaalt flexibel op en af</a:t>
            </a:r>
          </a:p>
          <a:p>
            <a:r>
              <a:rPr lang="nl-NL">
                <a:solidFill>
                  <a:schemeClr val="bg1"/>
                </a:solidFill>
                <a:latin typeface="TheSans-Plain"/>
              </a:rPr>
              <a:t>We willen voorkomen dat we mensen moeten opvangen in tijdelijke voorzieningen die daar eigenlijk niet</a:t>
            </a:r>
          </a:p>
          <a:p>
            <a:r>
              <a:rPr lang="nl-NL">
                <a:solidFill>
                  <a:schemeClr val="bg1"/>
                </a:solidFill>
                <a:latin typeface="TheSans-Plain"/>
              </a:rPr>
              <a:t>voor bedoeld zijn: het liefst geen sporthallen of paviljoens meer. Onze overtuiging is dat we daarmee ook het meest doelmatig en dus kostenefficiënt zijn.</a:t>
            </a:r>
          </a:p>
          <a:p>
            <a:endParaRPr lang="nl-NL">
              <a:solidFill>
                <a:schemeClr val="bg1"/>
              </a:solidFill>
              <a:latin typeface="TheSans-Plain"/>
            </a:endParaRPr>
          </a:p>
          <a:p>
            <a:endParaRPr lang="nl-NL">
              <a:solidFill>
                <a:schemeClr val="bg1"/>
              </a:solidFill>
            </a:endParaRPr>
          </a:p>
          <a:p>
            <a:r>
              <a:rPr lang="nl-NL">
                <a:solidFill>
                  <a:schemeClr val="bg1"/>
                </a:solidFill>
              </a:rPr>
              <a:t>De bewoner staat bij de begeleiding centraal: we gaan uit van zijn of haar ervaringen, behoeften, talenten</a:t>
            </a:r>
          </a:p>
          <a:p>
            <a:r>
              <a:rPr lang="nl-NL">
                <a:solidFill>
                  <a:schemeClr val="bg1"/>
                </a:solidFill>
              </a:rPr>
              <a:t>en vaardigheden. We doen dat met persoonsgerichte ondersteuning op basis van onze agogische vakkundigheid. In onze begeleiding bieden we maatwerk voor doelgroepen als alleenstaande moeders, amv en lhbti’ers, die zich in een extra kwetsbare positie bevinden.</a:t>
            </a:r>
          </a:p>
          <a:p>
            <a:endParaRPr lang="nl-NL">
              <a:solidFill>
                <a:schemeClr val="bg1"/>
              </a:solidFill>
            </a:endParaRPr>
          </a:p>
          <a:p>
            <a:r>
              <a:rPr lang="nl-NL" b="1">
                <a:solidFill>
                  <a:schemeClr val="bg1"/>
                </a:solidFill>
              </a:rPr>
              <a:t>3. Het COA is transparant en voorspelbaar en creëert samen met partners maatschappelijke meerwaarde en draagvlak</a:t>
            </a:r>
          </a:p>
          <a:p>
            <a:endParaRPr lang="nl-NL">
              <a:solidFill>
                <a:schemeClr val="bg1"/>
              </a:solidFill>
            </a:endParaRPr>
          </a:p>
        </p:txBody>
      </p:sp>
      <p:sp>
        <p:nvSpPr>
          <p:cNvPr id="5" name="Rechthoek 4"/>
          <p:cNvSpPr/>
          <p:nvPr/>
        </p:nvSpPr>
        <p:spPr>
          <a:xfrm>
            <a:off x="332509" y="3341822"/>
            <a:ext cx="11130742" cy="369332"/>
          </a:xfrm>
          <a:prstGeom prst="rect">
            <a:avLst/>
          </a:prstGeom>
        </p:spPr>
        <p:txBody>
          <a:bodyPr wrap="square">
            <a:spAutoFit/>
          </a:bodyPr>
          <a:lstStyle/>
          <a:p>
            <a:r>
              <a:rPr lang="nl-NL" b="1">
                <a:solidFill>
                  <a:schemeClr val="bg1"/>
                </a:solidFill>
                <a:latin typeface="TheSansBold-Plain"/>
              </a:rPr>
              <a:t>2. Het COA stelt bewoners in staat en stimuleert hen om zelfredzaam te zijn</a:t>
            </a:r>
            <a:endParaRPr lang="nl-NL">
              <a:solidFill>
                <a:schemeClr val="bg1"/>
              </a:solidFill>
            </a:endParaRPr>
          </a:p>
        </p:txBody>
      </p:sp>
    </p:spTree>
    <p:extLst>
      <p:ext uri="{BB962C8B-B14F-4D97-AF65-F5344CB8AC3E}">
        <p14:creationId xmlns:p14="http://schemas.microsoft.com/office/powerpoint/2010/main" val="644987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 name="VCT-ANGLE" val="62"/>
  <p:tag name="THINKCELLSHAPEDONOTDELETE" val="pw7i.zjfuFUudxWt7a.Vbzw"/>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 name="VCT-ANGLE" val="62"/>
  <p:tag name="THINKCELLSHAPEDONOTDELETE" val="pw7i.zjfuFUudxWt7a.Vbzw"/>
</p:tagLst>
</file>

<file path=ppt/theme/theme1.xml><?xml version="1.0" encoding="utf-8"?>
<a:theme xmlns:a="http://schemas.openxmlformats.org/drawingml/2006/main" name="Kantoorthema">
  <a:themeElements>
    <a:clrScheme name="COA">
      <a:dk1>
        <a:sysClr val="windowText" lastClr="000000"/>
      </a:dk1>
      <a:lt1>
        <a:sysClr val="window" lastClr="FFFFFF"/>
      </a:lt1>
      <a:dk2>
        <a:srgbClr val="00252F"/>
      </a:dk2>
      <a:lt2>
        <a:srgbClr val="FFFFFF"/>
      </a:lt2>
      <a:accent1>
        <a:srgbClr val="0094AB"/>
      </a:accent1>
      <a:accent2>
        <a:srgbClr val="C59517"/>
      </a:accent2>
      <a:accent3>
        <a:srgbClr val="2D4589"/>
      </a:accent3>
      <a:accent4>
        <a:srgbClr val="841E66"/>
      </a:accent4>
      <a:accent5>
        <a:srgbClr val="CC5248"/>
      </a:accent5>
      <a:accent6>
        <a:srgbClr val="9ECDE3"/>
      </a:accent6>
      <a:hlink>
        <a:srgbClr val="449460"/>
      </a:hlink>
      <a:folHlink>
        <a:srgbClr val="827D7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COA-template" id="{F68B2AE7-2083-43DB-AD97-DC917B67803E}" vid="{4633F4DA-46D7-44EF-8F48-0EE8C06D13AB}"/>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OA</Template>
  <TotalTime>700</TotalTime>
  <Words>1602</Words>
  <Application>Microsoft Macintosh PowerPoint</Application>
  <PresentationFormat>Breedbeeld</PresentationFormat>
  <Paragraphs>254</Paragraphs>
  <Slides>30</Slides>
  <Notes>17</Notes>
  <HiddenSlides>1</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30</vt:i4>
      </vt:variant>
    </vt:vector>
  </HeadingPairs>
  <TitlesOfParts>
    <vt:vector size="39" baseType="lpstr">
      <vt:lpstr>Arial</vt:lpstr>
      <vt:lpstr>VAG Rounded Std Thin</vt:lpstr>
      <vt:lpstr>TheSansBold-Plain</vt:lpstr>
      <vt:lpstr>Calibri</vt:lpstr>
      <vt:lpstr>Abadi</vt:lpstr>
      <vt:lpstr>Wingdings</vt:lpstr>
      <vt:lpstr>TheSans-Plain</vt:lpstr>
      <vt:lpstr>Verdana</vt:lpstr>
      <vt:lpstr>Kantoorthema</vt:lpstr>
      <vt:lpstr>Informatiebijeenkomst COA  Utrecht 11/1/2024</vt:lpstr>
      <vt:lpstr>Voor het COA zijn vandaag aanwezig: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Voorbeeld: In-/uitstroom tertaal 3  2023 </vt:lpstr>
      <vt:lpstr> </vt:lpstr>
      <vt:lpstr>Relevante ontwikkelingen:</vt:lpstr>
      <vt:lpstr> </vt:lpstr>
      <vt:lpstr>PowerPoint-presentatie</vt:lpstr>
      <vt:lpstr>PowerPoint-presentatie</vt:lpstr>
      <vt:lpstr>PowerPoint-presentatie</vt:lpstr>
      <vt:lpstr>PowerPoint-presentatie</vt:lpstr>
      <vt:lpstr>PowerPoint-presentatie</vt:lpstr>
      <vt:lpstr>PowerPoint-presentatie</vt:lpstr>
      <vt:lpstr>PowerPoint-presentatie</vt:lpstr>
      <vt:lpstr>Dank voor uw aandacht</vt:lpstr>
      <vt:lpstr>PowerPoint-presentatie</vt:lpstr>
    </vt:vector>
  </TitlesOfParts>
  <Manager>CarlGroenland@coa.nl</Manager>
  <Company>Co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Kauffeld, Pascal;mikebosch@coa.nl</dc:creator>
  <cp:lastModifiedBy>Siep Scherpel</cp:lastModifiedBy>
  <cp:revision>50</cp:revision>
  <dcterms:created xsi:type="dcterms:W3CDTF">2023-03-21T12:53:17Z</dcterms:created>
  <dcterms:modified xsi:type="dcterms:W3CDTF">2024-01-11T12:09:02Z</dcterms:modified>
</cp:coreProperties>
</file>